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3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7" r:id="rId2"/>
    <p:sldMasterId id="2147483715" r:id="rId3"/>
    <p:sldMasterId id="2147483756" r:id="rId4"/>
  </p:sldMasterIdLst>
  <p:notesMasterIdLst>
    <p:notesMasterId r:id="rId27"/>
  </p:notesMasterIdLst>
  <p:sldIdLst>
    <p:sldId id="561" r:id="rId5"/>
    <p:sldId id="567" r:id="rId6"/>
    <p:sldId id="8046" r:id="rId7"/>
    <p:sldId id="5683" r:id="rId8"/>
    <p:sldId id="5682" r:id="rId9"/>
    <p:sldId id="8049" r:id="rId10"/>
    <p:sldId id="8051" r:id="rId11"/>
    <p:sldId id="277" r:id="rId12"/>
    <p:sldId id="8053" r:id="rId13"/>
    <p:sldId id="8056" r:id="rId14"/>
    <p:sldId id="8055" r:id="rId15"/>
    <p:sldId id="8059" r:id="rId16"/>
    <p:sldId id="8060" r:id="rId17"/>
    <p:sldId id="8065" r:id="rId18"/>
    <p:sldId id="8062" r:id="rId19"/>
    <p:sldId id="8063" r:id="rId20"/>
    <p:sldId id="8064" r:id="rId21"/>
    <p:sldId id="8048" r:id="rId22"/>
    <p:sldId id="8050" r:id="rId23"/>
    <p:sldId id="8047" r:id="rId24"/>
    <p:sldId id="8052" r:id="rId25"/>
    <p:sldId id="8066" r:id="rId26"/>
  </p:sldIdLst>
  <p:sldSz cx="12188825" cy="6858000"/>
  <p:notesSz cx="9601200" cy="7315200"/>
  <p:defaultTextStyle>
    <a:defPPr>
      <a:defRPr lang="en-US"/>
    </a:defPPr>
    <a:lvl1pPr marL="0" algn="l" defTabSz="1123158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61579" algn="l" defTabSz="1123158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123158" algn="l" defTabSz="1123158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84736" algn="l" defTabSz="1123158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246315" algn="l" defTabSz="1123158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807894" algn="l" defTabSz="1123158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369473" algn="l" defTabSz="1123158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931051" algn="l" defTabSz="1123158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492630" algn="l" defTabSz="1123158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C502D34-618F-499F-B083-A9A277666F98}">
          <p14:sldIdLst>
            <p14:sldId id="561"/>
            <p14:sldId id="567"/>
            <p14:sldId id="8046"/>
            <p14:sldId id="5683"/>
            <p14:sldId id="5682"/>
            <p14:sldId id="8049"/>
            <p14:sldId id="8051"/>
            <p14:sldId id="277"/>
            <p14:sldId id="8053"/>
            <p14:sldId id="8056"/>
            <p14:sldId id="8055"/>
            <p14:sldId id="8059"/>
            <p14:sldId id="8060"/>
            <p14:sldId id="8065"/>
            <p14:sldId id="8062"/>
            <p14:sldId id="8063"/>
            <p14:sldId id="8064"/>
            <p14:sldId id="8048"/>
            <p14:sldId id="8050"/>
            <p14:sldId id="8047"/>
            <p14:sldId id="8052"/>
            <p14:sldId id="806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482DA"/>
    <a:srgbClr val="FFCD2F"/>
    <a:srgbClr val="FF6565"/>
    <a:srgbClr val="ECCBCB"/>
    <a:srgbClr val="FF4747"/>
    <a:srgbClr val="E6D5EE"/>
    <a:srgbClr val="FF5B5B"/>
    <a:srgbClr val="B0DD7F"/>
    <a:srgbClr val="FF61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65" autoAdjust="0"/>
    <p:restoredTop sz="97775" autoAdjust="0"/>
  </p:normalViewPr>
  <p:slideViewPr>
    <p:cSldViewPr>
      <p:cViewPr varScale="1">
        <p:scale>
          <a:sx n="111" d="100"/>
          <a:sy n="111" d="100"/>
        </p:scale>
        <p:origin x="564" y="108"/>
      </p:cViewPr>
      <p:guideLst>
        <p:guide orient="horz" pos="2160"/>
        <p:guide pos="38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303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Veteran</c:v>
                </c:pt>
              </c:strCache>
            </c:strRef>
          </c:tx>
          <c:spPr>
            <a:solidFill>
              <a:srgbClr val="C00000"/>
            </a:solidFill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5E6-4F56-A81E-732B109259AD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5E6-4F56-A81E-732B109259AD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5E6-4F56-A81E-732B109259AD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5E6-4F56-A81E-732B109259AD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5E6-4F56-A81E-732B109259AD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 i="0" baseline="0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11</c:f>
              <c:strCache>
                <c:ptCount val="10"/>
                <c:pt idx="0">
                  <c:v>Decile 1</c:v>
                </c:pt>
                <c:pt idx="1">
                  <c:v>Decile 2</c:v>
                </c:pt>
                <c:pt idx="2">
                  <c:v>Decile 3</c:v>
                </c:pt>
                <c:pt idx="3">
                  <c:v>Decile 4</c:v>
                </c:pt>
                <c:pt idx="4">
                  <c:v>Decile 5</c:v>
                </c:pt>
                <c:pt idx="5">
                  <c:v>Decile 6</c:v>
                </c:pt>
                <c:pt idx="6">
                  <c:v>Decile 7</c:v>
                </c:pt>
                <c:pt idx="7">
                  <c:v>Decile 8</c:v>
                </c:pt>
                <c:pt idx="8">
                  <c:v>Decile 9</c:v>
                </c:pt>
                <c:pt idx="9">
                  <c:v>Decile 10</c:v>
                </c:pt>
              </c:strCache>
            </c:strRef>
          </c:cat>
          <c:val>
            <c:numRef>
              <c:f>Tabelle1!$B$2:$B$11</c:f>
              <c:numCache>
                <c:formatCode>General</c:formatCode>
                <c:ptCount val="10"/>
                <c:pt idx="0">
                  <c:v>0.88519999999999999</c:v>
                </c:pt>
                <c:pt idx="1">
                  <c:v>0.61729999999999996</c:v>
                </c:pt>
                <c:pt idx="2">
                  <c:v>0.47020000000000001</c:v>
                </c:pt>
                <c:pt idx="3">
                  <c:v>0.31180000000000002</c:v>
                </c:pt>
                <c:pt idx="4">
                  <c:v>4.7699999999999999E-2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5E6-4F56-A81E-732B109259AD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Nonveteran</c:v>
                </c:pt>
              </c:strCache>
            </c:strRef>
          </c:tx>
          <c:spPr>
            <a:solidFill>
              <a:sysClr val="window" lastClr="FFFFFF">
                <a:lumMod val="65000"/>
                <a:alpha val="70000"/>
              </a:sysClr>
            </a:solidFill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aseline="0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11</c:f>
              <c:strCache>
                <c:ptCount val="10"/>
                <c:pt idx="0">
                  <c:v>Decile 1</c:v>
                </c:pt>
                <c:pt idx="1">
                  <c:v>Decile 2</c:v>
                </c:pt>
                <c:pt idx="2">
                  <c:v>Decile 3</c:v>
                </c:pt>
                <c:pt idx="3">
                  <c:v>Decile 4</c:v>
                </c:pt>
                <c:pt idx="4">
                  <c:v>Decile 5</c:v>
                </c:pt>
                <c:pt idx="5">
                  <c:v>Decile 6</c:v>
                </c:pt>
                <c:pt idx="6">
                  <c:v>Decile 7</c:v>
                </c:pt>
                <c:pt idx="7">
                  <c:v>Decile 8</c:v>
                </c:pt>
                <c:pt idx="8">
                  <c:v>Decile 9</c:v>
                </c:pt>
                <c:pt idx="9">
                  <c:v>Decile 10</c:v>
                </c:pt>
              </c:strCache>
            </c:strRef>
          </c:cat>
          <c:val>
            <c:numRef>
              <c:f>Tabelle1!$C$2:$C$11</c:f>
              <c:numCache>
                <c:formatCode>General</c:formatCode>
                <c:ptCount val="10"/>
                <c:pt idx="0">
                  <c:v>0.11480000000000001</c:v>
                </c:pt>
                <c:pt idx="1">
                  <c:v>0.38270000000000004</c:v>
                </c:pt>
                <c:pt idx="2">
                  <c:v>0.52980000000000005</c:v>
                </c:pt>
                <c:pt idx="3">
                  <c:v>0.68819999999999992</c:v>
                </c:pt>
                <c:pt idx="4">
                  <c:v>0.95230000000000004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5E6-4F56-A81E-732B109259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435421568"/>
        <c:axId val="435423104"/>
      </c:barChart>
      <c:catAx>
        <c:axId val="43542156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800" b="1" baseline="0"/>
            </a:pPr>
            <a:endParaRPr lang="en-US"/>
          </a:p>
        </c:txPr>
        <c:crossAx val="435423104"/>
        <c:crosses val="autoZero"/>
        <c:auto val="1"/>
        <c:lblAlgn val="ctr"/>
        <c:lblOffset val="100"/>
        <c:noMultiLvlLbl val="0"/>
      </c:catAx>
      <c:valAx>
        <c:axId val="435423104"/>
        <c:scaling>
          <c:orientation val="minMax"/>
          <c:max val="1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800" baseline="0"/>
            </a:pPr>
            <a:endParaRPr lang="en-US"/>
          </a:p>
        </c:txPr>
        <c:crossAx val="435421568"/>
        <c:crosses val="autoZero"/>
        <c:crossBetween val="between"/>
        <c:majorUnit val="0.2"/>
      </c:valAx>
    </c:plotArea>
    <c:legend>
      <c:legendPos val="b"/>
      <c:overlay val="0"/>
      <c:txPr>
        <a:bodyPr/>
        <a:lstStyle/>
        <a:p>
          <a:pPr>
            <a:defRPr sz="800" baseline="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0"/>
      <c:rotY val="0"/>
      <c:rAngAx val="0"/>
    </c:view3D>
    <c:floor>
      <c:thickness val="0"/>
      <c:spPr>
        <a:noFill/>
        <a:ln w="9525">
          <a:noFill/>
        </a:ln>
      </c:spPr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2.1709680985664642E-2"/>
          <c:y val="0.18332158037767404"/>
          <c:w val="0.96193521441645136"/>
          <c:h val="0.68327566703582654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Males</c:v>
                </c:pt>
              </c:strCache>
            </c:strRef>
          </c:tx>
          <c:spPr>
            <a:solidFill>
              <a:srgbClr val="0070C0"/>
            </a:solidFill>
            <a:ln w="12700">
              <a:solidFill>
                <a:srgbClr val="FFFFFF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8100" h="38100"/>
              <a:contourClr>
                <a:srgbClr val="000000"/>
              </a:contourClr>
            </a:sp3d>
          </c:spPr>
          <c:invertIfNegative val="0"/>
          <c:dLbls>
            <c:numFmt formatCode="0%" sourceLinked="0"/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000" b="1" i="0" u="none" strike="noStrike" baseline="0">
                    <a:solidFill>
                      <a:schemeClr val="accent5">
                        <a:lumMod val="75000"/>
                      </a:schemeClr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</c:f>
              <c:strCache>
                <c:ptCount val="1"/>
                <c:pt idx="0">
                  <c:v>Percent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521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02-465D-9E1A-CC1F76E4B2F5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Females</c:v>
                </c:pt>
              </c:strCache>
            </c:strRef>
          </c:tx>
          <c:spPr>
            <a:solidFill>
              <a:srgbClr val="E94D4D">
                <a:lumMod val="60000"/>
                <a:lumOff val="40000"/>
              </a:srgbClr>
            </a:solidFill>
            <a:ln w="12700">
              <a:solidFill>
                <a:srgbClr val="FFFFFF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8100" h="38100"/>
              <a:contourClr>
                <a:srgbClr val="000000"/>
              </a:contourClr>
            </a:sp3d>
          </c:spPr>
          <c:invertIfNegative val="0"/>
          <c:dLbls>
            <c:numFmt formatCode="0%" sourceLinked="0"/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925" b="1" i="0" u="none" strike="noStrike" baseline="0">
                    <a:solidFill>
                      <a:srgbClr val="595959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</c:f>
              <c:strCache>
                <c:ptCount val="1"/>
                <c:pt idx="0">
                  <c:v>Percent</c:v>
                </c:pt>
              </c:strCache>
            </c:strRef>
          </c:cat>
          <c:val>
            <c:numRef>
              <c:f>Sheet1!$B$3</c:f>
              <c:numCache>
                <c:formatCode>0%</c:formatCode>
                <c:ptCount val="1"/>
                <c:pt idx="0">
                  <c:v>0.477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F02-465D-9E1A-CC1F76E4B2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93"/>
        <c:gapDepth val="13"/>
        <c:shape val="box"/>
        <c:axId val="506235136"/>
        <c:axId val="506245120"/>
        <c:axId val="0"/>
      </c:bar3DChart>
      <c:catAx>
        <c:axId val="506235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25400">
            <a:noFill/>
            <a:prstDash val="solid"/>
          </a:ln>
        </c:spPr>
        <c:txPr>
          <a:bodyPr rot="0" vert="horz"/>
          <a:lstStyle/>
          <a:p>
            <a:pPr>
              <a:defRPr sz="1100" b="1" i="0" u="none" strike="noStrike" baseline="0">
                <a:solidFill>
                  <a:srgbClr val="595959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Arial"/>
                <a:cs typeface="Arial"/>
              </a:defRPr>
            </a:pPr>
            <a:endParaRPr lang="en-US"/>
          </a:p>
        </c:txPr>
        <c:crossAx val="506245120"/>
        <c:crosses val="autoZero"/>
        <c:auto val="1"/>
        <c:lblAlgn val="ctr"/>
        <c:lblOffset val="0"/>
        <c:tickLblSkip val="1"/>
        <c:tickMarkSkip val="1"/>
        <c:noMultiLvlLbl val="0"/>
      </c:catAx>
      <c:valAx>
        <c:axId val="506245120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one"/>
        <c:crossAx val="506235136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25" b="1" i="0" u="none" strike="noStrike" baseline="0">
          <a:solidFill>
            <a:schemeClr val="tx1"/>
          </a:solidFill>
          <a:latin typeface="MS P????"/>
          <a:ea typeface="MS P????"/>
          <a:cs typeface="MS P????"/>
        </a:defRPr>
      </a:pPr>
      <a:endParaRPr lang="en-US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7081457207756678"/>
          <c:y val="2.0568582535714638E-2"/>
          <c:w val="0.86821500320837774"/>
          <c:h val="0.70295019912745049"/>
        </c:manualLayout>
      </c:layout>
      <c:areaChart>
        <c:grouping val="stacked"/>
        <c:varyColors val="0"/>
        <c:ser>
          <c:idx val="1"/>
          <c:order val="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gradFill rotWithShape="0">
              <a:gsLst>
                <a:gs pos="0">
                  <a:srgbClr val="C0C0C0">
                    <a:gamma/>
                    <a:shade val="80784"/>
                    <a:invGamma/>
                  </a:srgbClr>
                </a:gs>
                <a:gs pos="100000">
                  <a:srgbClr val="C0C0C0"/>
                </a:gs>
              </a:gsLst>
              <a:lin ang="5400000" scaled="1"/>
            </a:gradFill>
            <a:ln w="12700">
              <a:noFill/>
              <a:prstDash val="solid"/>
            </a:ln>
          </c:spPr>
          <c:cat>
            <c:strRef>
              <c:f>Sheet1!$B$1:$D$1</c:f>
              <c:strCache>
                <c:ptCount val="3"/>
                <c:pt idx="0">
                  <c:v>Newly Enrolled</c:v>
                </c:pt>
                <c:pt idx="1">
                  <c:v>13 - 36</c:v>
                </c:pt>
                <c:pt idx="2">
                  <c:v>36  or more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CA-47E5-8343-1D740068FD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07820288"/>
        <c:axId val="507826176"/>
      </c:areaChart>
      <c:lineChart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ercent</c:v>
                </c:pt>
              </c:strCache>
            </c:strRef>
          </c:tx>
          <c:spPr>
            <a:ln w="50800">
              <a:solidFill>
                <a:srgbClr val="7030A0"/>
              </a:solidFill>
              <a:prstDash val="solid"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aseline="0">
                    <a:solidFill>
                      <a:schemeClr val="accent5">
                        <a:lumMod val="75000"/>
                      </a:schemeClr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D$1</c:f>
              <c:strCache>
                <c:ptCount val="3"/>
                <c:pt idx="0">
                  <c:v>Newly Enrolled</c:v>
                </c:pt>
                <c:pt idx="1">
                  <c:v>13 - 36</c:v>
                </c:pt>
                <c:pt idx="2">
                  <c:v>36  or more</c:v>
                </c:pt>
              </c:strCache>
            </c:strRef>
          </c:cat>
          <c:val>
            <c:numRef>
              <c:f>Sheet1!$B$2:$D$2</c:f>
              <c:numCache>
                <c:formatCode>0%</c:formatCode>
                <c:ptCount val="3"/>
                <c:pt idx="0">
                  <c:v>0.18</c:v>
                </c:pt>
                <c:pt idx="1">
                  <c:v>0.7</c:v>
                </c:pt>
                <c:pt idx="2">
                  <c:v>0.140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6CA-47E5-8343-1D740068FD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07820288"/>
        <c:axId val="507826176"/>
      </c:lineChart>
      <c:catAx>
        <c:axId val="5078202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700">
            <a:noFill/>
            <a:prstDash val="solid"/>
          </a:ln>
        </c:spPr>
        <c:txPr>
          <a:bodyPr rot="0" vert="horz"/>
          <a:lstStyle/>
          <a:p>
            <a:pPr>
              <a:defRPr sz="1100" b="1" i="0" u="none" strike="noStrike" baseline="0">
                <a:solidFill>
                  <a:srgbClr val="595959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Arial"/>
                <a:cs typeface="Arial"/>
              </a:defRPr>
            </a:pPr>
            <a:endParaRPr lang="en-US"/>
          </a:p>
        </c:txPr>
        <c:crossAx val="507826176"/>
        <c:crosses val="autoZero"/>
        <c:auto val="1"/>
        <c:lblAlgn val="ctr"/>
        <c:lblOffset val="0"/>
        <c:tickLblSkip val="1"/>
        <c:tickMarkSkip val="1"/>
        <c:noMultiLvlLbl val="0"/>
      </c:catAx>
      <c:valAx>
        <c:axId val="507826176"/>
        <c:scaling>
          <c:orientation val="minMax"/>
          <c:max val="1"/>
        </c:scaling>
        <c:delete val="1"/>
        <c:axPos val="l"/>
        <c:numFmt formatCode="General" sourceLinked="1"/>
        <c:majorTickMark val="out"/>
        <c:minorTickMark val="none"/>
        <c:tickLblPos val="nextTo"/>
        <c:crossAx val="507820288"/>
        <c:crosses val="autoZero"/>
        <c:crossBetween val="midCat"/>
      </c:valAx>
      <c:spPr>
        <a:noFill/>
        <a:ln w="25400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750" b="1" i="0" u="none" strike="noStrike" baseline="0">
          <a:solidFill>
            <a:schemeClr val="tx1"/>
          </a:solidFill>
          <a:latin typeface="MS P????"/>
          <a:ea typeface="MS P????"/>
          <a:cs typeface="MS P????"/>
        </a:defRPr>
      </a:pPr>
      <a:endParaRPr lang="en-US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0"/>
      <c:rotY val="0"/>
      <c:rAngAx val="0"/>
    </c:view3D>
    <c:floor>
      <c:thickness val="0"/>
      <c:spPr>
        <a:noFill/>
        <a:ln w="9525">
          <a:noFill/>
        </a:ln>
      </c:spPr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4.4815473286324709E-2"/>
          <c:y val="7.5079864721808456E-2"/>
          <c:w val="0.9411304437253275"/>
          <c:h val="0.81538890265971153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Age</c:v>
                </c:pt>
              </c:strCache>
            </c:strRef>
          </c:tx>
          <c:spPr>
            <a:solidFill>
              <a:srgbClr val="7030A0"/>
            </a:solidFill>
            <a:ln w="11673">
              <a:solidFill>
                <a:srgbClr val="C0C0C0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8100" h="38100"/>
              <a:contourClr>
                <a:srgbClr val="000000"/>
              </a:contourClr>
            </a:sp3d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BDF-4E19-BE7D-C916E3D5EDB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aseline="0">
                    <a:solidFill>
                      <a:schemeClr val="accent5">
                        <a:lumMod val="75000"/>
                      </a:schemeClr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D$1</c:f>
              <c:strCache>
                <c:ptCount val="3"/>
                <c:pt idx="0">
                  <c:v>Under 65</c:v>
                </c:pt>
                <c:pt idx="1">
                  <c:v>65-75</c:v>
                </c:pt>
                <c:pt idx="2">
                  <c:v>More Than 75</c:v>
                </c:pt>
              </c:strCache>
            </c:strRef>
          </c:cat>
          <c:val>
            <c:numRef>
              <c:f>Sheet1!$B$2:$D$2</c:f>
              <c:numCache>
                <c:formatCode>0%</c:formatCode>
                <c:ptCount val="3"/>
                <c:pt idx="0">
                  <c:v>0.13</c:v>
                </c:pt>
                <c:pt idx="1">
                  <c:v>0.55000000000000004</c:v>
                </c:pt>
                <c:pt idx="2">
                  <c:v>0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BDF-4E19-BE7D-C916E3D5ED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gapDepth val="26"/>
        <c:shape val="box"/>
        <c:axId val="506583296"/>
        <c:axId val="506585088"/>
        <c:axId val="0"/>
      </c:bar3DChart>
      <c:catAx>
        <c:axId val="506583296"/>
        <c:scaling>
          <c:orientation val="minMax"/>
        </c:scaling>
        <c:delete val="0"/>
        <c:axPos val="b"/>
        <c:numFmt formatCode="General" sourceLinked="1"/>
        <c:majorTickMark val="none"/>
        <c:minorTickMark val="out"/>
        <c:tickLblPos val="nextTo"/>
        <c:spPr>
          <a:ln w="11673">
            <a:noFill/>
            <a:prstDash val="solid"/>
          </a:ln>
        </c:spPr>
        <c:txPr>
          <a:bodyPr rot="0" vert="horz"/>
          <a:lstStyle/>
          <a:p>
            <a:pPr>
              <a:defRPr sz="1000" b="1" i="0" u="none" strike="noStrike" baseline="0">
                <a:solidFill>
                  <a:srgbClr val="595959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Arial"/>
                <a:cs typeface="Arial"/>
              </a:defRPr>
            </a:pPr>
            <a:endParaRPr lang="en-US"/>
          </a:p>
        </c:txPr>
        <c:crossAx val="506585088"/>
        <c:crosses val="autoZero"/>
        <c:auto val="1"/>
        <c:lblAlgn val="ctr"/>
        <c:lblOffset val="0"/>
        <c:tickMarkSkip val="1"/>
        <c:noMultiLvlLbl val="0"/>
      </c:catAx>
      <c:valAx>
        <c:axId val="506585088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506583296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  <a:scene3d>
      <a:camera prst="orthographicFront"/>
      <a:lightRig rig="threePt" dir="t"/>
    </a:scene3d>
    <a:sp3d>
      <a:bevelT/>
    </a:sp3d>
  </c:spPr>
  <c:txPr>
    <a:bodyPr/>
    <a:lstStyle/>
    <a:p>
      <a:pPr>
        <a:defRPr sz="643" b="1" i="0" u="none" strike="noStrike" baseline="0">
          <a:solidFill>
            <a:schemeClr val="tx1"/>
          </a:solidFill>
          <a:latin typeface="MS P????"/>
          <a:ea typeface="MS P????"/>
          <a:cs typeface="MS P????"/>
        </a:defRPr>
      </a:pPr>
      <a:endParaRPr lang="en-US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0"/>
      <c:rotY val="0"/>
      <c:rAngAx val="0"/>
      <c:perspective val="14"/>
    </c:view3D>
    <c:floor>
      <c:thickness val="0"/>
      <c:spPr>
        <a:noFill/>
        <a:ln w="9525">
          <a:noFill/>
        </a:ln>
      </c:spPr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2.6653055304472352E-2"/>
          <c:y val="6.8173895308990956E-2"/>
          <c:w val="0.95051578943035275"/>
          <c:h val="0.70960375072033466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tate</c:v>
                </c:pt>
              </c:strCache>
            </c:strRef>
          </c:tx>
          <c:spPr>
            <a:solidFill>
              <a:srgbClr val="7030A0"/>
            </a:solidFill>
            <a:ln w="12700">
              <a:solidFill>
                <a:srgbClr val="FFFFFF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26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8100" h="38100"/>
              <a:contourClr>
                <a:srgbClr val="000000"/>
              </a:contourClr>
            </a:sp3d>
          </c:spPr>
          <c:invertIfNegative val="0"/>
          <c:dPt>
            <c:idx val="5"/>
            <c:invertIfNegative val="0"/>
            <c:bubble3D val="0"/>
            <c:spPr>
              <a:solidFill>
                <a:srgbClr val="868686"/>
              </a:solidFill>
              <a:ln w="12700">
                <a:solidFill>
                  <a:srgbClr val="FFFFFF"/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26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38100" h="38100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A517-4E75-85B4-5A80BAF34A0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517-4E75-85B4-5A80BAF34A0F}"/>
              </c:ext>
            </c:extLst>
          </c:dPt>
          <c:dLbls>
            <c:numFmt formatCode="0.0%" sourceLinked="0"/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000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F$1</c:f>
              <c:strCache>
                <c:ptCount val="5"/>
                <c:pt idx="0">
                  <c:v>PA</c:v>
                </c:pt>
                <c:pt idx="1">
                  <c:v>FL</c:v>
                </c:pt>
                <c:pt idx="2">
                  <c:v>TX</c:v>
                </c:pt>
                <c:pt idx="3">
                  <c:v>GA</c:v>
                </c:pt>
                <c:pt idx="4">
                  <c:v>NC</c:v>
                </c:pt>
              </c:strCache>
            </c:strRef>
          </c:cat>
          <c:val>
            <c:numRef>
              <c:f>Sheet1!$B$2:$F$2</c:f>
              <c:numCache>
                <c:formatCode>0.0%</c:formatCode>
                <c:ptCount val="5"/>
                <c:pt idx="0">
                  <c:v>0.1229</c:v>
                </c:pt>
                <c:pt idx="1">
                  <c:v>7.3599999999999999E-2</c:v>
                </c:pt>
                <c:pt idx="2">
                  <c:v>6.9699999999999998E-2</c:v>
                </c:pt>
                <c:pt idx="3">
                  <c:v>6.6000000000000003E-2</c:v>
                </c:pt>
                <c:pt idx="4">
                  <c:v>6.57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517-4E75-85B4-5A80BAF34A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shape val="box"/>
        <c:axId val="505575680"/>
        <c:axId val="505593856"/>
        <c:axId val="0"/>
      </c:bar3DChart>
      <c:catAx>
        <c:axId val="505575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25400">
            <a:noFill/>
            <a:prstDash val="solid"/>
          </a:ln>
        </c:spPr>
        <c:txPr>
          <a:bodyPr rot="0" vert="horz"/>
          <a:lstStyle/>
          <a:p>
            <a:pPr>
              <a:defRPr sz="1000" b="1" i="0" u="none" strike="noStrike" baseline="0">
                <a:solidFill>
                  <a:srgbClr val="595959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Arial"/>
                <a:cs typeface="Arial"/>
              </a:defRPr>
            </a:pPr>
            <a:endParaRPr lang="en-US"/>
          </a:p>
        </c:txPr>
        <c:crossAx val="50559385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505593856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one"/>
        <c:crossAx val="505575680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25" b="1" i="0" u="none" strike="noStrike" baseline="0">
          <a:solidFill>
            <a:schemeClr val="tx1"/>
          </a:solidFill>
          <a:latin typeface="MS P????"/>
          <a:ea typeface="MS P????"/>
          <a:cs typeface="MS P????"/>
        </a:defRPr>
      </a:pPr>
      <a:endParaRPr lang="en-US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0"/>
      <c:rotY val="0"/>
      <c:rAngAx val="0"/>
    </c:view3D>
    <c:floor>
      <c:thickness val="0"/>
      <c:spPr>
        <a:noFill/>
        <a:ln w="9525">
          <a:noFill/>
        </a:ln>
      </c:spPr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2.1709680985664642E-2"/>
          <c:y val="0.18332158037767404"/>
          <c:w val="0.96193521441645136"/>
          <c:h val="0.68327566703582654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Males</c:v>
                </c:pt>
              </c:strCache>
            </c:strRef>
          </c:tx>
          <c:spPr>
            <a:solidFill>
              <a:srgbClr val="0070C0"/>
            </a:solidFill>
            <a:ln w="12700">
              <a:solidFill>
                <a:srgbClr val="FFFFFF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8100" h="38100"/>
              <a:contourClr>
                <a:srgbClr val="000000"/>
              </a:contourClr>
            </a:sp3d>
          </c:spPr>
          <c:invertIfNegative val="0"/>
          <c:dLbls>
            <c:numFmt formatCode="0%" sourceLinked="0"/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000" b="1" i="0" u="none" strike="noStrike" baseline="0">
                    <a:solidFill>
                      <a:schemeClr val="accent5">
                        <a:lumMod val="75000"/>
                      </a:schemeClr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</c:f>
              <c:strCache>
                <c:ptCount val="1"/>
                <c:pt idx="0">
                  <c:v>Percent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4444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02-465D-9E1A-CC1F76E4B2F5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Females</c:v>
                </c:pt>
              </c:strCache>
            </c:strRef>
          </c:tx>
          <c:spPr>
            <a:solidFill>
              <a:srgbClr val="E94D4D">
                <a:lumMod val="60000"/>
                <a:lumOff val="40000"/>
              </a:srgbClr>
            </a:solidFill>
            <a:ln w="12700">
              <a:solidFill>
                <a:srgbClr val="FFFFFF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8100" h="38100"/>
              <a:contourClr>
                <a:srgbClr val="000000"/>
              </a:contourClr>
            </a:sp3d>
          </c:spPr>
          <c:invertIfNegative val="0"/>
          <c:dLbls>
            <c:numFmt formatCode="0%" sourceLinked="0"/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925" b="1" i="0" u="none" strike="noStrike" baseline="0">
                    <a:solidFill>
                      <a:srgbClr val="595959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</c:f>
              <c:strCache>
                <c:ptCount val="1"/>
                <c:pt idx="0">
                  <c:v>Percent</c:v>
                </c:pt>
              </c:strCache>
            </c:strRef>
          </c:cat>
          <c:val>
            <c:numRef>
              <c:f>Sheet1!$B$3</c:f>
              <c:numCache>
                <c:formatCode>0%</c:formatCode>
                <c:ptCount val="1"/>
                <c:pt idx="0">
                  <c:v>0.5554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F02-465D-9E1A-CC1F76E4B2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93"/>
        <c:gapDepth val="13"/>
        <c:shape val="box"/>
        <c:axId val="506235136"/>
        <c:axId val="506245120"/>
        <c:axId val="0"/>
      </c:bar3DChart>
      <c:catAx>
        <c:axId val="506235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25400">
            <a:noFill/>
            <a:prstDash val="solid"/>
          </a:ln>
        </c:spPr>
        <c:txPr>
          <a:bodyPr rot="0" vert="horz"/>
          <a:lstStyle/>
          <a:p>
            <a:pPr>
              <a:defRPr sz="1100" b="1" i="0" u="none" strike="noStrike" baseline="0">
                <a:solidFill>
                  <a:srgbClr val="595959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Arial"/>
                <a:cs typeface="Arial"/>
              </a:defRPr>
            </a:pPr>
            <a:endParaRPr lang="en-US"/>
          </a:p>
        </c:txPr>
        <c:crossAx val="506245120"/>
        <c:crosses val="autoZero"/>
        <c:auto val="1"/>
        <c:lblAlgn val="ctr"/>
        <c:lblOffset val="0"/>
        <c:tickLblSkip val="1"/>
        <c:tickMarkSkip val="1"/>
        <c:noMultiLvlLbl val="0"/>
      </c:catAx>
      <c:valAx>
        <c:axId val="506245120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one"/>
        <c:crossAx val="506235136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25" b="1" i="0" u="none" strike="noStrike" baseline="0">
          <a:solidFill>
            <a:schemeClr val="tx1"/>
          </a:solidFill>
          <a:latin typeface="MS P????"/>
          <a:ea typeface="MS P????"/>
          <a:cs typeface="MS P????"/>
        </a:defRPr>
      </a:pPr>
      <a:endParaRPr lang="en-US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7081457207756678"/>
          <c:y val="2.0568582535714638E-2"/>
          <c:w val="0.86821500320837774"/>
          <c:h val="0.70295019912745049"/>
        </c:manualLayout>
      </c:layout>
      <c:areaChart>
        <c:grouping val="stacked"/>
        <c:varyColors val="0"/>
        <c:ser>
          <c:idx val="1"/>
          <c:order val="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gradFill rotWithShape="0">
              <a:gsLst>
                <a:gs pos="0">
                  <a:srgbClr val="C0C0C0">
                    <a:gamma/>
                    <a:shade val="80784"/>
                    <a:invGamma/>
                  </a:srgbClr>
                </a:gs>
                <a:gs pos="100000">
                  <a:srgbClr val="C0C0C0"/>
                </a:gs>
              </a:gsLst>
              <a:lin ang="5400000" scaled="1"/>
            </a:gradFill>
            <a:ln w="12700">
              <a:noFill/>
              <a:prstDash val="solid"/>
            </a:ln>
          </c:spPr>
          <c:cat>
            <c:strRef>
              <c:f>Sheet1!$B$1:$D$1</c:f>
              <c:strCache>
                <c:ptCount val="3"/>
                <c:pt idx="0">
                  <c:v>Newly Enrolled</c:v>
                </c:pt>
                <c:pt idx="1">
                  <c:v>13 - 36</c:v>
                </c:pt>
                <c:pt idx="2">
                  <c:v>36  or more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CA-47E5-8343-1D740068FD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07820288"/>
        <c:axId val="507826176"/>
      </c:areaChart>
      <c:lineChart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ercent</c:v>
                </c:pt>
              </c:strCache>
            </c:strRef>
          </c:tx>
          <c:spPr>
            <a:ln w="50800">
              <a:solidFill>
                <a:srgbClr val="7030A0"/>
              </a:solidFill>
              <a:prstDash val="solid"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aseline="0">
                    <a:solidFill>
                      <a:schemeClr val="accent5">
                        <a:lumMod val="75000"/>
                      </a:schemeClr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D$1</c:f>
              <c:strCache>
                <c:ptCount val="3"/>
                <c:pt idx="0">
                  <c:v>Newly Enrolled</c:v>
                </c:pt>
                <c:pt idx="1">
                  <c:v>13 - 36</c:v>
                </c:pt>
                <c:pt idx="2">
                  <c:v>36  or more</c:v>
                </c:pt>
              </c:strCache>
            </c:strRef>
          </c:cat>
          <c:val>
            <c:numRef>
              <c:f>Sheet1!$B$2:$D$2</c:f>
              <c:numCache>
                <c:formatCode>0%</c:formatCode>
                <c:ptCount val="3"/>
                <c:pt idx="0">
                  <c:v>0.65</c:v>
                </c:pt>
                <c:pt idx="1">
                  <c:v>0.22</c:v>
                </c:pt>
                <c:pt idx="2">
                  <c:v>0.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6CA-47E5-8343-1D740068FD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07820288"/>
        <c:axId val="507826176"/>
      </c:lineChart>
      <c:catAx>
        <c:axId val="5078202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700">
            <a:noFill/>
            <a:prstDash val="solid"/>
          </a:ln>
        </c:spPr>
        <c:txPr>
          <a:bodyPr rot="0" vert="horz"/>
          <a:lstStyle/>
          <a:p>
            <a:pPr>
              <a:defRPr sz="1100" b="1" i="0" u="none" strike="noStrike" baseline="0">
                <a:solidFill>
                  <a:srgbClr val="595959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Arial"/>
                <a:cs typeface="Arial"/>
              </a:defRPr>
            </a:pPr>
            <a:endParaRPr lang="en-US"/>
          </a:p>
        </c:txPr>
        <c:crossAx val="507826176"/>
        <c:crosses val="autoZero"/>
        <c:auto val="1"/>
        <c:lblAlgn val="ctr"/>
        <c:lblOffset val="0"/>
        <c:tickLblSkip val="1"/>
        <c:tickMarkSkip val="1"/>
        <c:noMultiLvlLbl val="0"/>
      </c:catAx>
      <c:valAx>
        <c:axId val="507826176"/>
        <c:scaling>
          <c:orientation val="minMax"/>
          <c:max val="1"/>
        </c:scaling>
        <c:delete val="1"/>
        <c:axPos val="l"/>
        <c:numFmt formatCode="General" sourceLinked="1"/>
        <c:majorTickMark val="out"/>
        <c:minorTickMark val="none"/>
        <c:tickLblPos val="nextTo"/>
        <c:crossAx val="507820288"/>
        <c:crosses val="autoZero"/>
        <c:crossBetween val="midCat"/>
      </c:valAx>
      <c:spPr>
        <a:noFill/>
        <a:ln w="25400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750" b="1" i="0" u="none" strike="noStrike" baseline="0">
          <a:solidFill>
            <a:schemeClr val="tx1"/>
          </a:solidFill>
          <a:latin typeface="MS P????"/>
          <a:ea typeface="MS P????"/>
          <a:cs typeface="MS P????"/>
        </a:defRPr>
      </a:pPr>
      <a:endParaRPr lang="en-US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0"/>
      <c:rotY val="0"/>
      <c:rAngAx val="0"/>
    </c:view3D>
    <c:floor>
      <c:thickness val="0"/>
      <c:spPr>
        <a:noFill/>
        <a:ln w="9525">
          <a:noFill/>
        </a:ln>
      </c:spPr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4.4815473286324709E-2"/>
          <c:y val="7.5079864721808456E-2"/>
          <c:w val="0.9411304437253275"/>
          <c:h val="0.81538890265971153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Age</c:v>
                </c:pt>
              </c:strCache>
            </c:strRef>
          </c:tx>
          <c:spPr>
            <a:solidFill>
              <a:srgbClr val="7030A0"/>
            </a:solidFill>
            <a:ln w="11673">
              <a:solidFill>
                <a:srgbClr val="C0C0C0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8100" h="38100"/>
              <a:contourClr>
                <a:srgbClr val="000000"/>
              </a:contourClr>
            </a:sp3d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BDF-4E19-BE7D-C916E3D5EDB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aseline="0">
                    <a:solidFill>
                      <a:schemeClr val="accent5">
                        <a:lumMod val="75000"/>
                      </a:schemeClr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D$1</c:f>
              <c:strCache>
                <c:ptCount val="3"/>
                <c:pt idx="0">
                  <c:v>Under 65</c:v>
                </c:pt>
                <c:pt idx="1">
                  <c:v>65-75</c:v>
                </c:pt>
                <c:pt idx="2">
                  <c:v>More Than 75</c:v>
                </c:pt>
              </c:strCache>
            </c:strRef>
          </c:cat>
          <c:val>
            <c:numRef>
              <c:f>Sheet1!$B$2:$D$2</c:f>
              <c:numCache>
                <c:formatCode>0%</c:formatCode>
                <c:ptCount val="3"/>
                <c:pt idx="0">
                  <c:v>0.13</c:v>
                </c:pt>
                <c:pt idx="1">
                  <c:v>0.56000000000000005</c:v>
                </c:pt>
                <c:pt idx="2">
                  <c:v>0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BDF-4E19-BE7D-C916E3D5ED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gapDepth val="26"/>
        <c:shape val="box"/>
        <c:axId val="506583296"/>
        <c:axId val="506585088"/>
        <c:axId val="0"/>
      </c:bar3DChart>
      <c:catAx>
        <c:axId val="506583296"/>
        <c:scaling>
          <c:orientation val="minMax"/>
        </c:scaling>
        <c:delete val="0"/>
        <c:axPos val="b"/>
        <c:numFmt formatCode="General" sourceLinked="1"/>
        <c:majorTickMark val="none"/>
        <c:minorTickMark val="out"/>
        <c:tickLblPos val="nextTo"/>
        <c:spPr>
          <a:ln w="11673">
            <a:noFill/>
            <a:prstDash val="solid"/>
          </a:ln>
        </c:spPr>
        <c:txPr>
          <a:bodyPr rot="0" vert="horz"/>
          <a:lstStyle/>
          <a:p>
            <a:pPr>
              <a:defRPr sz="1000" b="1" i="0" u="none" strike="noStrike" baseline="0">
                <a:solidFill>
                  <a:srgbClr val="595959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Arial"/>
                <a:cs typeface="Arial"/>
              </a:defRPr>
            </a:pPr>
            <a:endParaRPr lang="en-US"/>
          </a:p>
        </c:txPr>
        <c:crossAx val="506585088"/>
        <c:crosses val="autoZero"/>
        <c:auto val="1"/>
        <c:lblAlgn val="ctr"/>
        <c:lblOffset val="0"/>
        <c:tickMarkSkip val="1"/>
        <c:noMultiLvlLbl val="0"/>
      </c:catAx>
      <c:valAx>
        <c:axId val="506585088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506583296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  <a:scene3d>
      <a:camera prst="orthographicFront"/>
      <a:lightRig rig="threePt" dir="t"/>
    </a:scene3d>
    <a:sp3d>
      <a:bevelT/>
    </a:sp3d>
  </c:spPr>
  <c:txPr>
    <a:bodyPr/>
    <a:lstStyle/>
    <a:p>
      <a:pPr>
        <a:defRPr sz="643" b="1" i="0" u="none" strike="noStrike" baseline="0">
          <a:solidFill>
            <a:schemeClr val="tx1"/>
          </a:solidFill>
          <a:latin typeface="MS P????"/>
          <a:ea typeface="MS P????"/>
          <a:cs typeface="MS P????"/>
        </a:defRPr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0"/>
      <c:rotY val="0"/>
      <c:rAngAx val="0"/>
    </c:view3D>
    <c:floor>
      <c:thickness val="0"/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5.7895378331126651E-2"/>
          <c:y val="1.7482255154089282E-2"/>
          <c:w val="0.9411304437253275"/>
          <c:h val="0.37398592925557766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Histogram</c:v>
                </c:pt>
              </c:strCache>
            </c:strRef>
          </c:tx>
          <c:spPr>
            <a:gradFill rotWithShape="0">
              <a:gsLst>
                <a:gs pos="0">
                  <a:srgbClr val="5C9A1B">
                    <a:lumMod val="95000"/>
                    <a:lumOff val="5000"/>
                  </a:srgbClr>
                </a:gs>
                <a:gs pos="100000">
                  <a:srgbClr val="5C9A1B">
                    <a:lumMod val="75000"/>
                  </a:srgbClr>
                </a:gs>
              </a:gsLst>
              <a:lin ang="5400000" scaled="1"/>
            </a:gradFill>
            <a:ln w="0">
              <a:solidFill>
                <a:srgbClr val="C0C0C0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8100" h="38100"/>
              <a:contourClr>
                <a:srgbClr val="000000"/>
              </a:contourClr>
            </a:sp3d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436-4A90-B542-06152D66834B}"/>
              </c:ext>
            </c:extLst>
          </c:dPt>
          <c:dLbls>
            <c:spPr>
              <a:solidFill>
                <a:prstClr val="white"/>
              </a:solidFill>
              <a:ln w="9525">
                <a:solidFill>
                  <a:prstClr val="black">
                    <a:lumMod val="65000"/>
                    <a:lumOff val="35000"/>
                  </a:prstClr>
                </a:solidFill>
              </a:ln>
              <a:effectLst/>
            </c:sp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</c15:spPr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Top 2 Deciles</c:v>
                </c:pt>
                <c:pt idx="1">
                  <c:v>Top 3 Deciles</c:v>
                </c:pt>
                <c:pt idx="2">
                  <c:v>Top 4 Deciles</c:v>
                </c:pt>
                <c:pt idx="3">
                  <c:v>Top 5 Deciles</c:v>
                </c:pt>
              </c:strCache>
            </c:strRef>
          </c:cat>
          <c:val>
            <c:numRef>
              <c:f>Sheet1!$B$2:$E$2</c:f>
              <c:numCache>
                <c:formatCode>0%</c:formatCode>
                <c:ptCount val="4"/>
                <c:pt idx="0">
                  <c:v>0.65</c:v>
                </c:pt>
                <c:pt idx="1">
                  <c:v>0.85</c:v>
                </c:pt>
                <c:pt idx="2">
                  <c:v>0.98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436-4A90-B542-06152D6683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8"/>
        <c:shape val="box"/>
        <c:axId val="506583296"/>
        <c:axId val="506585088"/>
        <c:axId val="0"/>
      </c:bar3DChart>
      <c:catAx>
        <c:axId val="506583296"/>
        <c:scaling>
          <c:orientation val="minMax"/>
        </c:scaling>
        <c:delete val="0"/>
        <c:axPos val="b"/>
        <c:numFmt formatCode="General" sourceLinked="1"/>
        <c:majorTickMark val="out"/>
        <c:minorTickMark val="out"/>
        <c:tickLblPos val="nextTo"/>
        <c:spPr>
          <a:ln w="11673">
            <a:noFill/>
            <a:prstDash val="solid"/>
          </a:ln>
        </c:spPr>
        <c:txPr>
          <a:bodyPr rot="0" vert="horz"/>
          <a:lstStyle/>
          <a:p>
            <a:pPr>
              <a:defRPr sz="1100" b="1" i="0" u="none" strike="noStrike" baseline="0">
                <a:solidFill>
                  <a:srgbClr val="595959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Arial"/>
                <a:cs typeface="Arial"/>
              </a:defRPr>
            </a:pPr>
            <a:endParaRPr lang="en-US"/>
          </a:p>
        </c:txPr>
        <c:crossAx val="506585088"/>
        <c:crosses val="autoZero"/>
        <c:auto val="1"/>
        <c:lblAlgn val="ctr"/>
        <c:lblOffset val="0"/>
        <c:tickMarkSkip val="1"/>
        <c:noMultiLvlLbl val="0"/>
      </c:catAx>
      <c:valAx>
        <c:axId val="506585088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crossAx val="506583296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  <a:scene3d>
      <a:camera prst="orthographicFront"/>
      <a:lightRig rig="threePt" dir="t"/>
    </a:scene3d>
    <a:sp3d>
      <a:bevelT/>
    </a:sp3d>
  </c:spPr>
  <c:txPr>
    <a:bodyPr/>
    <a:lstStyle/>
    <a:p>
      <a:pPr>
        <a:defRPr sz="643" b="1" i="0" u="none" strike="noStrike" baseline="0">
          <a:solidFill>
            <a:schemeClr val="tx1"/>
          </a:solidFill>
          <a:latin typeface="MS P????"/>
          <a:ea typeface="MS P????"/>
          <a:cs typeface="MS P????"/>
        </a:defRPr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0"/>
      <c:rotY val="0"/>
      <c:rAngAx val="0"/>
    </c:view3D>
    <c:floor>
      <c:thickness val="0"/>
      <c:spPr>
        <a:noFill/>
        <a:ln w="9525">
          <a:noFill/>
        </a:ln>
      </c:spPr>
    </c:floor>
    <c:sideWall>
      <c:thickness val="0"/>
      <c:spPr>
        <a:noFill/>
        <a:ln w="25397">
          <a:noFill/>
        </a:ln>
      </c:spPr>
    </c:sideWall>
    <c:backWall>
      <c:thickness val="0"/>
      <c:spPr>
        <a:noFill/>
        <a:ln w="25397">
          <a:noFill/>
        </a:ln>
      </c:spPr>
    </c:backWall>
    <c:plotArea>
      <c:layout>
        <c:manualLayout>
          <c:layoutTarget val="inner"/>
          <c:xMode val="edge"/>
          <c:yMode val="edge"/>
          <c:x val="0.38298055623509109"/>
          <c:y val="5.945795877550313E-3"/>
          <c:w val="0.80204877922764406"/>
          <c:h val="0.99405420412244971"/>
        </c:manualLayout>
      </c:layout>
      <c:bar3D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mportance</c:v>
                </c:pt>
              </c:strCache>
            </c:strRef>
          </c:tx>
          <c:spPr>
            <a:gradFill flip="none" rotWithShape="1">
              <a:gsLst>
                <a:gs pos="0">
                  <a:srgbClr val="5C9A1B"/>
                </a:gs>
                <a:gs pos="100000">
                  <a:srgbClr val="5C9A1B">
                    <a:lumMod val="90000"/>
                    <a:lumOff val="10000"/>
                  </a:srgbClr>
                </a:gs>
              </a:gsLst>
              <a:lin ang="0" scaled="1"/>
              <a:tileRect/>
            </a:gradFill>
            <a:ln w="12699">
              <a:solidFill>
                <a:srgbClr val="FFFFFF"/>
              </a:solidFill>
              <a:prstDash val="solid"/>
            </a:ln>
            <a:scene3d>
              <a:camera prst="orthographicFront"/>
              <a:lightRig rig="threePt" dir="t"/>
            </a:scene3d>
            <a:sp3d>
              <a:bevelT w="38100" h="38100"/>
              <a:bevelB w="38100" h="0"/>
              <a:contourClr>
                <a:srgbClr val="000000"/>
              </a:contourClr>
            </a:sp3d>
          </c:spPr>
          <c:invertIfNegative val="0"/>
          <c:dLbls>
            <c:dLbl>
              <c:idx val="0"/>
              <c:layout>
                <c:manualLayout>
                  <c:x val="-1.4676355161512502E-2"/>
                  <c:y val="-5.9457724689051264E-2"/>
                </c:manualLayout>
              </c:layout>
              <c:tx>
                <c:rich>
                  <a:bodyPr/>
                  <a:lstStyle/>
                  <a:p>
                    <a:fld id="{253422FF-A332-4C25-B652-47F8C85C346F}" type="VALUE">
                      <a:rPr lang="en-US" sz="1200">
                        <a:solidFill>
                          <a:srgbClr val="00B050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8098682963665825E-2"/>
                      <c:h val="0.1319671735886810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EE7-4EAF-A441-E4E5C00D64F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EF0FD60A-DCFA-4ECC-B10B-2E05420E6518}" type="VALUE">
                      <a:rPr lang="en-US" sz="1200">
                        <a:solidFill>
                          <a:srgbClr val="00B050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6EE7-4EAF-A441-E4E5C00D64F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07CC17E-9787-414D-835D-4A8FEF9C027C}" type="VALUE">
                      <a:rPr lang="en-US" sz="1200">
                        <a:solidFill>
                          <a:srgbClr val="00B050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6EE7-4EAF-A441-E4E5C00D64F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96BD3192-98B4-49CF-BB96-81C9EF61A2F2}" type="VALUE">
                      <a:rPr lang="en-US" sz="1200">
                        <a:solidFill>
                          <a:srgbClr val="00B050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6EE7-4EAF-A441-E4E5C00D64F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solidFill>
                      <a:schemeClr val="accent5">
                        <a:lumMod val="75000"/>
                      </a:schemeClr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Distance to VA Hospital</c:v>
                </c:pt>
                <c:pt idx="1">
                  <c:v>Age</c:v>
                </c:pt>
                <c:pt idx="2">
                  <c:v>Colorectal Cancer - Noncompliant</c:v>
                </c:pt>
                <c:pt idx="3">
                  <c:v>Disability</c:v>
                </c:pt>
                <c:pt idx="4">
                  <c:v>High Need Group</c:v>
                </c:pt>
                <c:pt idx="5">
                  <c:v>Statin Adherence - Noncompliant</c:v>
                </c:pt>
                <c:pt idx="6">
                  <c:v>Emergency Visits</c:v>
                </c:pt>
                <c:pt idx="7">
                  <c:v>Diabetes - Kidney - Noncompliant</c:v>
                </c:pt>
                <c:pt idx="8">
                  <c:v>Diabetes - Eye - Noncompliant</c:v>
                </c:pt>
                <c:pt idx="9">
                  <c:v>Inpatient Visits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0.4</c:v>
                </c:pt>
                <c:pt idx="1">
                  <c:v>3.5565778613090501E-2</c:v>
                </c:pt>
                <c:pt idx="2">
                  <c:v>3.5521719604730599E-2</c:v>
                </c:pt>
                <c:pt idx="3">
                  <c:v>3.0365077778697E-2</c:v>
                </c:pt>
                <c:pt idx="4">
                  <c:v>2.0541258156299501E-2</c:v>
                </c:pt>
                <c:pt idx="5">
                  <c:v>1.9377436488866799E-2</c:v>
                </c:pt>
                <c:pt idx="6">
                  <c:v>1.1465861000000001E-2</c:v>
                </c:pt>
                <c:pt idx="7">
                  <c:v>1.0374128999999999E-2</c:v>
                </c:pt>
                <c:pt idx="8">
                  <c:v>9.6918149999999995E-3</c:v>
                </c:pt>
                <c:pt idx="9">
                  <c:v>9.691814999999999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E7-4EAF-A441-E4E5C00D64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3"/>
        <c:gapDepth val="479"/>
        <c:shape val="box"/>
        <c:axId val="505875456"/>
        <c:axId val="505914112"/>
        <c:axId val="0"/>
      </c:bar3DChart>
      <c:catAx>
        <c:axId val="505875456"/>
        <c:scaling>
          <c:orientation val="maxMin"/>
        </c:scaling>
        <c:delete val="0"/>
        <c:axPos val="l"/>
        <c:numFmt formatCode="@" sourceLinked="0"/>
        <c:majorTickMark val="none"/>
        <c:minorTickMark val="none"/>
        <c:tickLblPos val="nextTo"/>
        <c:spPr>
          <a:ln>
            <a:noFill/>
          </a:ln>
        </c:spPr>
        <c:txPr>
          <a:bodyPr rot="0" vert="horz"/>
          <a:lstStyle/>
          <a:p>
            <a:pPr>
              <a:defRPr sz="640" baseline="0"/>
            </a:pPr>
            <a:endParaRPr lang="en-US"/>
          </a:p>
        </c:txPr>
        <c:crossAx val="505914112"/>
        <c:crosses val="autoZero"/>
        <c:auto val="1"/>
        <c:lblAlgn val="ctr"/>
        <c:lblOffset val="0"/>
        <c:tickMarkSkip val="1"/>
        <c:noMultiLvlLbl val="0"/>
      </c:catAx>
      <c:valAx>
        <c:axId val="505914112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one"/>
        <c:crossAx val="505875456"/>
        <c:crosses val="max"/>
        <c:crossBetween val="between"/>
      </c:valAx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6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0"/>
      <c:rotY val="0"/>
      <c:rAngAx val="0"/>
    </c:view3D>
    <c:floor>
      <c:thickness val="0"/>
      <c:spPr>
        <a:noFill/>
        <a:ln w="9525">
          <a:noFill/>
        </a:ln>
      </c:spPr>
    </c:floor>
    <c:sideWall>
      <c:thickness val="0"/>
      <c:spPr>
        <a:noFill/>
        <a:ln w="25397">
          <a:noFill/>
        </a:ln>
      </c:spPr>
    </c:sideWall>
    <c:backWall>
      <c:thickness val="0"/>
      <c:spPr>
        <a:noFill/>
        <a:ln w="25397">
          <a:noFill/>
        </a:ln>
      </c:spPr>
    </c:backWall>
    <c:plotArea>
      <c:layout>
        <c:manualLayout>
          <c:layoutTarget val="inner"/>
          <c:xMode val="edge"/>
          <c:yMode val="edge"/>
          <c:x val="0.19795109471475136"/>
          <c:y val="0"/>
          <c:w val="0.80204880207345597"/>
          <c:h val="1"/>
        </c:manualLayout>
      </c:layout>
      <c:bar3D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mportance</c:v>
                </c:pt>
              </c:strCache>
            </c:strRef>
          </c:tx>
          <c:spPr>
            <a:solidFill>
              <a:srgbClr val="C00000"/>
            </a:solidFill>
            <a:ln w="12699">
              <a:solidFill>
                <a:srgbClr val="FFFFFF"/>
              </a:solidFill>
              <a:prstDash val="solid"/>
            </a:ln>
            <a:scene3d>
              <a:camera prst="orthographicFront"/>
              <a:lightRig rig="threePt" dir="t"/>
            </a:scene3d>
            <a:sp3d>
              <a:bevelT w="38100" h="38100"/>
              <a:bevelB w="38100" h="0"/>
              <a:contourClr>
                <a:srgbClr val="000000"/>
              </a:contourClr>
            </a:sp3d>
          </c:spPr>
          <c:invertIfNegative val="0"/>
          <c:dLbls>
            <c:dLbl>
              <c:idx val="0"/>
              <c:layout>
                <c:manualLayout>
                  <c:x val="-1.4676355161512502E-2"/>
                  <c:y val="-5.9457724689051264E-2"/>
                </c:manualLayout>
              </c:layout>
              <c:tx>
                <c:rich>
                  <a:bodyPr/>
                  <a:lstStyle/>
                  <a:p>
                    <a:fld id="{253422FF-A332-4C25-B652-47F8C85C346F}" type="VALUE">
                      <a:rPr lang="en-US" sz="1200">
                        <a:solidFill>
                          <a:srgbClr val="C00000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8098682963665825E-2"/>
                      <c:h val="0.1319671735886810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0163-43C4-BDF2-6798014B9C7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6DF2261-4E82-4922-89C2-8B09BB4A870B}" type="VALUE">
                      <a:rPr lang="en-US" sz="1200">
                        <a:solidFill>
                          <a:srgbClr val="C00000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0163-43C4-BDF2-6798014B9C7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1DCDE80-422E-42D0-A42A-35C0F1272E5B}" type="VALUE">
                      <a:rPr lang="en-US" sz="1200">
                        <a:solidFill>
                          <a:srgbClr val="C00000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0163-43C4-BDF2-6798014B9C7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D6B7A219-4D05-477A-8289-E3892774705A}" type="VALUE">
                      <a:rPr lang="en-US" sz="1200">
                        <a:solidFill>
                          <a:srgbClr val="C00000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0163-43C4-BDF2-6798014B9C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solidFill>
                      <a:schemeClr val="accent5">
                        <a:lumMod val="75000"/>
                      </a:schemeClr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Tenure (Months)</c:v>
                </c:pt>
                <c:pt idx="1">
                  <c:v>Breast Cancer Screening - Noncompliant</c:v>
                </c:pt>
                <c:pt idx="2">
                  <c:v>Distinct Drug Taken</c:v>
                </c:pt>
                <c:pt idx="3">
                  <c:v>PCP Assigned</c:v>
                </c:pt>
                <c:pt idx="4">
                  <c:v>Primary Care Visits</c:v>
                </c:pt>
                <c:pt idx="5">
                  <c:v>Mental Disorder</c:v>
                </c:pt>
                <c:pt idx="6">
                  <c:v>Annual Wellness Visits</c:v>
                </c:pt>
                <c:pt idx="7">
                  <c:v>Specialist Member Paid</c:v>
                </c:pt>
                <c:pt idx="8">
                  <c:v>Behavior Health Visits</c:v>
                </c:pt>
                <c:pt idx="9">
                  <c:v>HEDIS Eligible Counts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0.08</c:v>
                </c:pt>
                <c:pt idx="1">
                  <c:v>6.8665000000000004E-2</c:v>
                </c:pt>
                <c:pt idx="2">
                  <c:v>6.6624000000000003E-2</c:v>
                </c:pt>
                <c:pt idx="3">
                  <c:v>0.02</c:v>
                </c:pt>
                <c:pt idx="4">
                  <c:v>0.02</c:v>
                </c:pt>
                <c:pt idx="5">
                  <c:v>1.2834442999999999E-2</c:v>
                </c:pt>
                <c:pt idx="6">
                  <c:v>9.3652849999999992E-3</c:v>
                </c:pt>
                <c:pt idx="7">
                  <c:v>9.3471849999999992E-3</c:v>
                </c:pt>
                <c:pt idx="8">
                  <c:v>9.2476780000000005E-3</c:v>
                </c:pt>
                <c:pt idx="9">
                  <c:v>9.247678000000000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63-43C4-BDF2-6798014B9C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3"/>
        <c:gapDepth val="479"/>
        <c:shape val="box"/>
        <c:axId val="505875456"/>
        <c:axId val="505914112"/>
        <c:axId val="0"/>
      </c:bar3DChart>
      <c:catAx>
        <c:axId val="50587545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 w="25397">
            <a:noFill/>
            <a:prstDash val="solid"/>
          </a:ln>
        </c:spPr>
        <c:txPr>
          <a:bodyPr rot="0" vert="horz" anchor="ctr" anchorCtr="1"/>
          <a:lstStyle/>
          <a:p>
            <a:pPr>
              <a:defRPr sz="640" b="1" i="0" u="none" strike="noStrike" baseline="0">
                <a:solidFill>
                  <a:schemeClr val="tx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Arial"/>
                <a:cs typeface="Arial"/>
              </a:defRPr>
            </a:pPr>
            <a:endParaRPr lang="en-US"/>
          </a:p>
        </c:txPr>
        <c:crossAx val="505914112"/>
        <c:crosses val="autoZero"/>
        <c:auto val="1"/>
        <c:lblAlgn val="ctr"/>
        <c:lblOffset val="0"/>
        <c:tickMarkSkip val="1"/>
        <c:noMultiLvlLbl val="0"/>
      </c:catAx>
      <c:valAx>
        <c:axId val="505914112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one"/>
        <c:crossAx val="505875456"/>
        <c:crosses val="max"/>
        <c:crossBetween val="between"/>
      </c:valAx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6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0"/>
      <c:rotY val="0"/>
      <c:rAngAx val="0"/>
      <c:perspective val="14"/>
    </c:view3D>
    <c:floor>
      <c:thickness val="0"/>
      <c:spPr>
        <a:noFill/>
        <a:ln w="9525">
          <a:noFill/>
        </a:ln>
      </c:spPr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2.6653055304472352E-2"/>
          <c:y val="6.8173895308990956E-2"/>
          <c:w val="0.95051578943035275"/>
          <c:h val="0.70960375072033466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7030A0"/>
            </a:solidFill>
            <a:ln w="12700">
              <a:solidFill>
                <a:srgbClr val="FFFFFF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26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8100" h="38100"/>
              <a:contourClr>
                <a:srgbClr val="000000"/>
              </a:contourClr>
            </a:sp3d>
          </c:spPr>
          <c:invertIfNegative val="0"/>
          <c:dPt>
            <c:idx val="5"/>
            <c:invertIfNegative val="0"/>
            <c:bubble3D val="0"/>
            <c:spPr>
              <a:solidFill>
                <a:srgbClr val="868686"/>
              </a:solidFill>
              <a:ln w="12700">
                <a:solidFill>
                  <a:srgbClr val="FFFFFF"/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26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38100" h="38100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A517-4E75-85B4-5A80BAF34A0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517-4E75-85B4-5A80BAF34A0F}"/>
              </c:ext>
            </c:extLst>
          </c:dPt>
          <c:dLbls>
            <c:numFmt formatCode="0%" sourceLinked="0"/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000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F$1</c:f>
              <c:strCache>
                <c:ptCount val="5"/>
                <c:pt idx="0">
                  <c:v>NC</c:v>
                </c:pt>
                <c:pt idx="1">
                  <c:v>IL</c:v>
                </c:pt>
                <c:pt idx="2">
                  <c:v>NY</c:v>
                </c:pt>
                <c:pt idx="3">
                  <c:v>OH</c:v>
                </c:pt>
                <c:pt idx="4">
                  <c:v>PA</c:v>
                </c:pt>
              </c:strCache>
            </c:strRef>
          </c:cat>
          <c:val>
            <c:numRef>
              <c:f>Sheet1!$B$2:$F$2</c:f>
              <c:numCache>
                <c:formatCode>0%</c:formatCode>
                <c:ptCount val="5"/>
                <c:pt idx="0">
                  <c:v>9.3299999999999994E-2</c:v>
                </c:pt>
                <c:pt idx="1">
                  <c:v>9.2999999999999999E-2</c:v>
                </c:pt>
                <c:pt idx="2">
                  <c:v>8.3599999999999994E-2</c:v>
                </c:pt>
                <c:pt idx="3">
                  <c:v>7.5999999999999998E-2</c:v>
                </c:pt>
                <c:pt idx="4">
                  <c:v>6.55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517-4E75-85B4-5A80BAF34A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shape val="box"/>
        <c:axId val="505575680"/>
        <c:axId val="505593856"/>
        <c:axId val="0"/>
      </c:bar3DChart>
      <c:catAx>
        <c:axId val="505575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25400">
            <a:noFill/>
            <a:prstDash val="solid"/>
          </a:ln>
        </c:spPr>
        <c:txPr>
          <a:bodyPr rot="0" vert="horz"/>
          <a:lstStyle/>
          <a:p>
            <a:pPr>
              <a:defRPr sz="1000" b="1" i="0" u="none" strike="noStrike" baseline="0">
                <a:solidFill>
                  <a:srgbClr val="595959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Arial"/>
                <a:cs typeface="Arial"/>
              </a:defRPr>
            </a:pPr>
            <a:endParaRPr lang="en-US"/>
          </a:p>
        </c:txPr>
        <c:crossAx val="50559385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505593856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one"/>
        <c:crossAx val="505575680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25" b="1" i="0" u="none" strike="noStrike" baseline="0">
          <a:solidFill>
            <a:schemeClr val="tx1"/>
          </a:solidFill>
          <a:latin typeface="MS P????"/>
          <a:ea typeface="MS P????"/>
          <a:cs typeface="MS P????"/>
        </a:defRPr>
      </a:pPr>
      <a:endParaRPr lang="en-US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0"/>
      <c:rotY val="0"/>
      <c:rAngAx val="0"/>
    </c:view3D>
    <c:floor>
      <c:thickness val="0"/>
      <c:spPr>
        <a:noFill/>
        <a:ln w="9525">
          <a:noFill/>
        </a:ln>
      </c:spPr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2.1709680985664642E-2"/>
          <c:y val="0.18332158037767404"/>
          <c:w val="0.96193521441645136"/>
          <c:h val="0.68327566703582654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Males</c:v>
                </c:pt>
              </c:strCache>
            </c:strRef>
          </c:tx>
          <c:spPr>
            <a:solidFill>
              <a:srgbClr val="0070C0"/>
            </a:solidFill>
            <a:ln w="12700">
              <a:solidFill>
                <a:srgbClr val="FFFFFF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8100" h="38100"/>
              <a:contourClr>
                <a:srgbClr val="000000"/>
              </a:contourClr>
            </a:sp3d>
          </c:spPr>
          <c:invertIfNegative val="0"/>
          <c:dLbls>
            <c:numFmt formatCode="0%" sourceLinked="0"/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000" b="1" i="0" u="none" strike="noStrike" baseline="0">
                    <a:solidFill>
                      <a:schemeClr val="accent5">
                        <a:lumMod val="75000"/>
                      </a:schemeClr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</c:f>
              <c:strCache>
                <c:ptCount val="1"/>
                <c:pt idx="0">
                  <c:v>Percent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02-465D-9E1A-CC1F76E4B2F5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Females</c:v>
                </c:pt>
              </c:strCache>
            </c:strRef>
          </c:tx>
          <c:spPr>
            <a:solidFill>
              <a:srgbClr val="E94D4D">
                <a:lumMod val="60000"/>
                <a:lumOff val="40000"/>
              </a:srgbClr>
            </a:solidFill>
            <a:ln w="12700">
              <a:solidFill>
                <a:srgbClr val="FFFFFF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8100" h="38100"/>
              <a:contourClr>
                <a:srgbClr val="000000"/>
              </a:contourClr>
            </a:sp3d>
          </c:spPr>
          <c:invertIfNegative val="0"/>
          <c:dLbls>
            <c:numFmt formatCode="0%" sourceLinked="0"/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925" b="1" i="0" u="none" strike="noStrike" baseline="0">
                    <a:solidFill>
                      <a:srgbClr val="595959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</c:f>
              <c:strCache>
                <c:ptCount val="1"/>
                <c:pt idx="0">
                  <c:v>Percent</c:v>
                </c:pt>
              </c:strCache>
            </c:strRef>
          </c:cat>
          <c:val>
            <c:numRef>
              <c:f>Sheet1!$B$3</c:f>
              <c:numCache>
                <c:formatCode>0%</c:formatCode>
                <c:ptCount val="1"/>
                <c:pt idx="0">
                  <c:v>0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F02-465D-9E1A-CC1F76E4B2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93"/>
        <c:gapDepth val="13"/>
        <c:shape val="box"/>
        <c:axId val="506235136"/>
        <c:axId val="506245120"/>
        <c:axId val="0"/>
      </c:bar3DChart>
      <c:catAx>
        <c:axId val="506235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25400">
            <a:noFill/>
            <a:prstDash val="solid"/>
          </a:ln>
        </c:spPr>
        <c:txPr>
          <a:bodyPr rot="0" vert="horz"/>
          <a:lstStyle/>
          <a:p>
            <a:pPr>
              <a:defRPr sz="1100" b="1" i="0" u="none" strike="noStrike" baseline="0">
                <a:solidFill>
                  <a:srgbClr val="595959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Arial"/>
                <a:cs typeface="Arial"/>
              </a:defRPr>
            </a:pPr>
            <a:endParaRPr lang="en-US"/>
          </a:p>
        </c:txPr>
        <c:crossAx val="506245120"/>
        <c:crosses val="autoZero"/>
        <c:auto val="1"/>
        <c:lblAlgn val="ctr"/>
        <c:lblOffset val="0"/>
        <c:tickLblSkip val="1"/>
        <c:tickMarkSkip val="1"/>
        <c:noMultiLvlLbl val="0"/>
      </c:catAx>
      <c:valAx>
        <c:axId val="506245120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one"/>
        <c:crossAx val="506235136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25" b="1" i="0" u="none" strike="noStrike" baseline="0">
          <a:solidFill>
            <a:schemeClr val="tx1"/>
          </a:solidFill>
          <a:latin typeface="MS P????"/>
          <a:ea typeface="MS P????"/>
          <a:cs typeface="MS P????"/>
        </a:defRPr>
      </a:pPr>
      <a:endParaRPr lang="en-US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7081457207756678"/>
          <c:y val="2.0568582535714638E-2"/>
          <c:w val="0.86821500320837774"/>
          <c:h val="0.70295019912745049"/>
        </c:manualLayout>
      </c:layout>
      <c:areaChart>
        <c:grouping val="stacked"/>
        <c:varyColors val="0"/>
        <c:ser>
          <c:idx val="1"/>
          <c:order val="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gradFill rotWithShape="0">
              <a:gsLst>
                <a:gs pos="0">
                  <a:srgbClr val="C0C0C0">
                    <a:gamma/>
                    <a:shade val="80784"/>
                    <a:invGamma/>
                  </a:srgbClr>
                </a:gs>
                <a:gs pos="100000">
                  <a:srgbClr val="C0C0C0"/>
                </a:gs>
              </a:gsLst>
              <a:lin ang="5400000" scaled="1"/>
            </a:gradFill>
            <a:ln w="12700">
              <a:noFill/>
              <a:prstDash val="solid"/>
            </a:ln>
          </c:spPr>
          <c:cat>
            <c:strRef>
              <c:f>Sheet1!$B$1:$D$1</c:f>
              <c:strCache>
                <c:ptCount val="3"/>
                <c:pt idx="0">
                  <c:v>Newly Enrolled</c:v>
                </c:pt>
                <c:pt idx="1">
                  <c:v>13 - 36</c:v>
                </c:pt>
                <c:pt idx="2">
                  <c:v>36  or more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CA-47E5-8343-1D740068FD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07820288"/>
        <c:axId val="507826176"/>
      </c:areaChart>
      <c:lineChart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ercent</c:v>
                </c:pt>
              </c:strCache>
            </c:strRef>
          </c:tx>
          <c:spPr>
            <a:ln w="50800">
              <a:solidFill>
                <a:srgbClr val="7030A0"/>
              </a:solidFill>
              <a:prstDash val="solid"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aseline="0">
                    <a:solidFill>
                      <a:schemeClr val="accent5">
                        <a:lumMod val="75000"/>
                      </a:schemeClr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D$1</c:f>
              <c:strCache>
                <c:ptCount val="3"/>
                <c:pt idx="0">
                  <c:v>Newly Enrolled</c:v>
                </c:pt>
                <c:pt idx="1">
                  <c:v>13 - 36</c:v>
                </c:pt>
                <c:pt idx="2">
                  <c:v>36  or more</c:v>
                </c:pt>
              </c:strCache>
            </c:strRef>
          </c:cat>
          <c:val>
            <c:numRef>
              <c:f>Sheet1!$B$2:$D$2</c:f>
              <c:numCache>
                <c:formatCode>0%</c:formatCode>
                <c:ptCount val="3"/>
                <c:pt idx="0">
                  <c:v>0.3</c:v>
                </c:pt>
                <c:pt idx="1">
                  <c:v>0.56000000000000005</c:v>
                </c:pt>
                <c:pt idx="2">
                  <c:v>0.140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6CA-47E5-8343-1D740068FD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07820288"/>
        <c:axId val="507826176"/>
      </c:lineChart>
      <c:catAx>
        <c:axId val="5078202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700">
            <a:noFill/>
            <a:prstDash val="solid"/>
          </a:ln>
        </c:spPr>
        <c:txPr>
          <a:bodyPr rot="0" vert="horz"/>
          <a:lstStyle/>
          <a:p>
            <a:pPr>
              <a:defRPr sz="1100" b="1" i="0" u="none" strike="noStrike" baseline="0">
                <a:solidFill>
                  <a:srgbClr val="595959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Arial"/>
                <a:cs typeface="Arial"/>
              </a:defRPr>
            </a:pPr>
            <a:endParaRPr lang="en-US"/>
          </a:p>
        </c:txPr>
        <c:crossAx val="507826176"/>
        <c:crosses val="autoZero"/>
        <c:auto val="1"/>
        <c:lblAlgn val="ctr"/>
        <c:lblOffset val="0"/>
        <c:tickLblSkip val="1"/>
        <c:tickMarkSkip val="1"/>
        <c:noMultiLvlLbl val="0"/>
      </c:catAx>
      <c:valAx>
        <c:axId val="507826176"/>
        <c:scaling>
          <c:orientation val="minMax"/>
          <c:max val="1"/>
        </c:scaling>
        <c:delete val="1"/>
        <c:axPos val="l"/>
        <c:numFmt formatCode="General" sourceLinked="1"/>
        <c:majorTickMark val="out"/>
        <c:minorTickMark val="none"/>
        <c:tickLblPos val="nextTo"/>
        <c:crossAx val="507820288"/>
        <c:crosses val="autoZero"/>
        <c:crossBetween val="midCat"/>
      </c:valAx>
      <c:spPr>
        <a:noFill/>
        <a:ln w="25400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750" b="1" i="0" u="none" strike="noStrike" baseline="0">
          <a:solidFill>
            <a:schemeClr val="tx1"/>
          </a:solidFill>
          <a:latin typeface="MS P????"/>
          <a:ea typeface="MS P????"/>
          <a:cs typeface="MS P????"/>
        </a:defRPr>
      </a:pPr>
      <a:endParaRPr lang="en-US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0"/>
      <c:rotY val="0"/>
      <c:rAngAx val="0"/>
    </c:view3D>
    <c:floor>
      <c:thickness val="0"/>
      <c:spPr>
        <a:noFill/>
        <a:ln w="9525">
          <a:noFill/>
        </a:ln>
      </c:spPr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4.4815473286324709E-2"/>
          <c:y val="7.5079864721808456E-2"/>
          <c:w val="0.9411304437253275"/>
          <c:h val="0.81538890265971153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Age</c:v>
                </c:pt>
              </c:strCache>
            </c:strRef>
          </c:tx>
          <c:spPr>
            <a:solidFill>
              <a:srgbClr val="7030A0"/>
            </a:solidFill>
            <a:ln w="11673">
              <a:solidFill>
                <a:srgbClr val="C0C0C0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8100" h="38100"/>
              <a:contourClr>
                <a:srgbClr val="000000"/>
              </a:contourClr>
            </a:sp3d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BDF-4E19-BE7D-C916E3D5EDB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aseline="0">
                    <a:solidFill>
                      <a:schemeClr val="accent5">
                        <a:lumMod val="75000"/>
                      </a:schemeClr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D$1</c:f>
              <c:strCache>
                <c:ptCount val="3"/>
                <c:pt idx="0">
                  <c:v>Under 65</c:v>
                </c:pt>
                <c:pt idx="1">
                  <c:v>65-75</c:v>
                </c:pt>
                <c:pt idx="2">
                  <c:v>More Than 75</c:v>
                </c:pt>
              </c:strCache>
            </c:strRef>
          </c:cat>
          <c:val>
            <c:numRef>
              <c:f>Sheet1!$B$2:$D$2</c:f>
              <c:numCache>
                <c:formatCode>0%</c:formatCode>
                <c:ptCount val="3"/>
                <c:pt idx="0">
                  <c:v>0.13</c:v>
                </c:pt>
                <c:pt idx="1">
                  <c:v>0.56999999999999995</c:v>
                </c:pt>
                <c:pt idx="2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BDF-4E19-BE7D-C916E3D5ED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gapDepth val="26"/>
        <c:shape val="box"/>
        <c:axId val="506583296"/>
        <c:axId val="506585088"/>
        <c:axId val="0"/>
      </c:bar3DChart>
      <c:catAx>
        <c:axId val="506583296"/>
        <c:scaling>
          <c:orientation val="minMax"/>
        </c:scaling>
        <c:delete val="0"/>
        <c:axPos val="b"/>
        <c:numFmt formatCode="General" sourceLinked="1"/>
        <c:majorTickMark val="none"/>
        <c:minorTickMark val="out"/>
        <c:tickLblPos val="nextTo"/>
        <c:spPr>
          <a:ln w="11673">
            <a:noFill/>
            <a:prstDash val="solid"/>
          </a:ln>
        </c:spPr>
        <c:txPr>
          <a:bodyPr rot="0" vert="horz"/>
          <a:lstStyle/>
          <a:p>
            <a:pPr>
              <a:defRPr sz="1000" b="1" i="0" u="none" strike="noStrike" baseline="0">
                <a:solidFill>
                  <a:srgbClr val="595959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Arial"/>
                <a:cs typeface="Arial"/>
              </a:defRPr>
            </a:pPr>
            <a:endParaRPr lang="en-US"/>
          </a:p>
        </c:txPr>
        <c:crossAx val="506585088"/>
        <c:crosses val="autoZero"/>
        <c:auto val="1"/>
        <c:lblAlgn val="ctr"/>
        <c:lblOffset val="0"/>
        <c:tickMarkSkip val="1"/>
        <c:noMultiLvlLbl val="0"/>
      </c:catAx>
      <c:valAx>
        <c:axId val="506585088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506583296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  <a:scene3d>
      <a:camera prst="orthographicFront"/>
      <a:lightRig rig="threePt" dir="t"/>
    </a:scene3d>
    <a:sp3d>
      <a:bevelT/>
    </a:sp3d>
  </c:spPr>
  <c:txPr>
    <a:bodyPr/>
    <a:lstStyle/>
    <a:p>
      <a:pPr>
        <a:defRPr sz="643" b="1" i="0" u="none" strike="noStrike" baseline="0">
          <a:solidFill>
            <a:schemeClr val="tx1"/>
          </a:solidFill>
          <a:latin typeface="MS P????"/>
          <a:ea typeface="MS P????"/>
          <a:cs typeface="MS P????"/>
        </a:defRPr>
      </a:pPr>
      <a:endParaRPr lang="en-US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0"/>
      <c:rotY val="0"/>
      <c:rAngAx val="0"/>
      <c:perspective val="14"/>
    </c:view3D>
    <c:floor>
      <c:thickness val="0"/>
      <c:spPr>
        <a:noFill/>
        <a:ln w="9525">
          <a:noFill/>
        </a:ln>
      </c:spPr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2.6653055304472352E-2"/>
          <c:y val="6.8173895308990956E-2"/>
          <c:w val="0.95051578943035275"/>
          <c:h val="0.70960375072033466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7030A0"/>
            </a:solidFill>
            <a:ln w="12700">
              <a:solidFill>
                <a:srgbClr val="FFFFFF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26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8100" h="38100"/>
              <a:contourClr>
                <a:srgbClr val="000000"/>
              </a:contourClr>
            </a:sp3d>
          </c:spPr>
          <c:invertIfNegative val="0"/>
          <c:dPt>
            <c:idx val="5"/>
            <c:invertIfNegative val="0"/>
            <c:bubble3D val="0"/>
            <c:spPr>
              <a:solidFill>
                <a:srgbClr val="868686"/>
              </a:solidFill>
              <a:ln w="12700">
                <a:solidFill>
                  <a:srgbClr val="FFFFFF"/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26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38100" h="38100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A517-4E75-85B4-5A80BAF34A0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517-4E75-85B4-5A80BAF34A0F}"/>
              </c:ext>
            </c:extLst>
          </c:dPt>
          <c:dLbls>
            <c:numFmt formatCode="0%" sourceLinked="0"/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000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F$1</c:f>
              <c:strCache>
                <c:ptCount val="5"/>
                <c:pt idx="0">
                  <c:v>IL</c:v>
                </c:pt>
                <c:pt idx="1">
                  <c:v>NC</c:v>
                </c:pt>
                <c:pt idx="2">
                  <c:v>NY</c:v>
                </c:pt>
                <c:pt idx="3">
                  <c:v>OH</c:v>
                </c:pt>
                <c:pt idx="4">
                  <c:v>GA</c:v>
                </c:pt>
              </c:strCache>
            </c:strRef>
          </c:cat>
          <c:val>
            <c:numRef>
              <c:f>Sheet1!$B$2:$F$2</c:f>
              <c:numCache>
                <c:formatCode>0%</c:formatCode>
                <c:ptCount val="5"/>
                <c:pt idx="0">
                  <c:v>0.1114</c:v>
                </c:pt>
                <c:pt idx="1">
                  <c:v>9.8299999999999998E-2</c:v>
                </c:pt>
                <c:pt idx="2">
                  <c:v>9.0999999999999998E-2</c:v>
                </c:pt>
                <c:pt idx="3">
                  <c:v>8.2299999999999998E-2</c:v>
                </c:pt>
                <c:pt idx="4">
                  <c:v>5.05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517-4E75-85B4-5A80BAF34A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shape val="box"/>
        <c:axId val="505575680"/>
        <c:axId val="505593856"/>
        <c:axId val="0"/>
      </c:bar3DChart>
      <c:catAx>
        <c:axId val="505575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25400">
            <a:noFill/>
            <a:prstDash val="solid"/>
          </a:ln>
        </c:spPr>
        <c:txPr>
          <a:bodyPr rot="0" vert="horz"/>
          <a:lstStyle/>
          <a:p>
            <a:pPr>
              <a:defRPr sz="1000" b="1" i="0" u="none" strike="noStrike" baseline="0">
                <a:solidFill>
                  <a:srgbClr val="595959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"/>
                <a:ea typeface="Arial"/>
                <a:cs typeface="Arial"/>
              </a:defRPr>
            </a:pPr>
            <a:endParaRPr lang="en-US"/>
          </a:p>
        </c:txPr>
        <c:crossAx val="50559385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505593856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one"/>
        <c:crossAx val="505575680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25" b="1" i="0" u="none" strike="noStrike" baseline="0">
          <a:solidFill>
            <a:schemeClr val="tx1"/>
          </a:solidFill>
          <a:latin typeface="MS P????"/>
          <a:ea typeface="MS P????"/>
          <a:cs typeface="MS P????"/>
        </a:defRPr>
      </a:pPr>
      <a:endParaRPr lang="en-US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5EB8FDE-7A8F-4A17-9666-35C6DEB0D4FD}" type="doc">
      <dgm:prSet loTypeId="urn:microsoft.com/office/officeart/2005/8/layout/cycle8" loCatId="cycle" qsTypeId="urn:microsoft.com/office/officeart/2005/8/quickstyle/simple1" qsCatId="simple" csTypeId="urn:microsoft.com/office/officeart/2005/8/colors/accent1_2" csCatId="accent1" phldr="1"/>
      <dgm:spPr/>
    </dgm:pt>
    <dgm:pt modelId="{1B595D29-583F-4AA8-AC4C-6FC21E5BE40A}">
      <dgm:prSet phldrT="[Text]"/>
      <dgm:spPr>
        <a:noFill/>
        <a:ln>
          <a:noFill/>
        </a:ln>
      </dgm:spPr>
      <dgm:t>
        <a:bodyPr/>
        <a:lstStyle/>
        <a:p>
          <a:r>
            <a:rPr lang="en-US" dirty="0"/>
            <a:t> </a:t>
          </a:r>
        </a:p>
      </dgm:t>
    </dgm:pt>
    <dgm:pt modelId="{EE435359-F48D-471D-AD07-D476B48A6A8E}" type="parTrans" cxnId="{0CD540FB-7E49-47ED-BE1D-C25040F4113D}">
      <dgm:prSet/>
      <dgm:spPr/>
      <dgm:t>
        <a:bodyPr/>
        <a:lstStyle/>
        <a:p>
          <a:endParaRPr lang="en-US"/>
        </a:p>
      </dgm:t>
    </dgm:pt>
    <dgm:pt modelId="{6BF3F2C4-2A64-4817-A025-F4A7AF3BD798}" type="sibTrans" cxnId="{0CD540FB-7E49-47ED-BE1D-C25040F4113D}">
      <dgm:prSet/>
      <dgm:spPr/>
      <dgm:t>
        <a:bodyPr/>
        <a:lstStyle/>
        <a:p>
          <a:endParaRPr lang="en-US"/>
        </a:p>
      </dgm:t>
    </dgm:pt>
    <dgm:pt modelId="{306AD93F-883C-44FB-843A-2D4F7AD04B13}">
      <dgm:prSet phldrT="[Text]"/>
      <dgm:spPr>
        <a:noFill/>
        <a:ln>
          <a:noFill/>
        </a:ln>
      </dgm:spPr>
      <dgm:t>
        <a:bodyPr/>
        <a:lstStyle/>
        <a:p>
          <a:r>
            <a:rPr lang="en-US" dirty="0"/>
            <a:t> </a:t>
          </a:r>
        </a:p>
      </dgm:t>
    </dgm:pt>
    <dgm:pt modelId="{E0DC4806-71F3-4C1D-BCF9-87E87BA5F225}" type="parTrans" cxnId="{6F834EEC-BC5D-4E4C-A37C-7D9FA2056540}">
      <dgm:prSet/>
      <dgm:spPr/>
      <dgm:t>
        <a:bodyPr/>
        <a:lstStyle/>
        <a:p>
          <a:endParaRPr lang="en-US"/>
        </a:p>
      </dgm:t>
    </dgm:pt>
    <dgm:pt modelId="{78493EB1-4958-4FD4-9D91-F91755FB83BA}" type="sibTrans" cxnId="{6F834EEC-BC5D-4E4C-A37C-7D9FA2056540}">
      <dgm:prSet/>
      <dgm:spPr/>
      <dgm:t>
        <a:bodyPr/>
        <a:lstStyle/>
        <a:p>
          <a:endParaRPr lang="en-US"/>
        </a:p>
      </dgm:t>
    </dgm:pt>
    <dgm:pt modelId="{62577253-F59D-4360-8152-86A6AB1D353E}">
      <dgm:prSet phldrT="[Text]"/>
      <dgm:spPr>
        <a:noFill/>
        <a:ln>
          <a:noFill/>
        </a:ln>
      </dgm:spPr>
      <dgm:t>
        <a:bodyPr/>
        <a:lstStyle/>
        <a:p>
          <a:r>
            <a:rPr lang="en-US" dirty="0"/>
            <a:t> </a:t>
          </a:r>
        </a:p>
      </dgm:t>
    </dgm:pt>
    <dgm:pt modelId="{46485D0C-E73D-45F8-9DF3-F1A2C8A7C1BC}" type="parTrans" cxnId="{083430AB-8A21-4630-9D54-1436218FCFC8}">
      <dgm:prSet/>
      <dgm:spPr/>
      <dgm:t>
        <a:bodyPr/>
        <a:lstStyle/>
        <a:p>
          <a:endParaRPr lang="en-US"/>
        </a:p>
      </dgm:t>
    </dgm:pt>
    <dgm:pt modelId="{7F1DAF11-424D-4E7C-B322-A197206F7880}" type="sibTrans" cxnId="{083430AB-8A21-4630-9D54-1436218FCFC8}">
      <dgm:prSet/>
      <dgm:spPr/>
      <dgm:t>
        <a:bodyPr/>
        <a:lstStyle/>
        <a:p>
          <a:endParaRPr lang="en-US"/>
        </a:p>
      </dgm:t>
    </dgm:pt>
    <dgm:pt modelId="{EC46A27F-F7F6-4163-ABC2-6A9B81E26568}">
      <dgm:prSet phldrT="[Text]"/>
      <dgm:spPr>
        <a:noFill/>
        <a:ln>
          <a:noFill/>
        </a:ln>
      </dgm:spPr>
      <dgm:t>
        <a:bodyPr/>
        <a:lstStyle/>
        <a:p>
          <a:r>
            <a:rPr lang="en-US" dirty="0"/>
            <a:t> </a:t>
          </a:r>
        </a:p>
      </dgm:t>
    </dgm:pt>
    <dgm:pt modelId="{8EF0F5DF-7AF8-476A-9D91-2673E05A3D67}" type="parTrans" cxnId="{DFF62215-BEC5-47B7-84E2-738E5B81FC2D}">
      <dgm:prSet/>
      <dgm:spPr/>
      <dgm:t>
        <a:bodyPr/>
        <a:lstStyle/>
        <a:p>
          <a:endParaRPr lang="en-US"/>
        </a:p>
      </dgm:t>
    </dgm:pt>
    <dgm:pt modelId="{E2E68640-3A6B-4479-95B8-E7E32589DD4E}" type="sibTrans" cxnId="{DFF62215-BEC5-47B7-84E2-738E5B81FC2D}">
      <dgm:prSet/>
      <dgm:spPr/>
      <dgm:t>
        <a:bodyPr/>
        <a:lstStyle/>
        <a:p>
          <a:endParaRPr lang="en-US"/>
        </a:p>
      </dgm:t>
    </dgm:pt>
    <dgm:pt modelId="{FD42B416-D566-495E-8CA6-AA57E0B2E899}">
      <dgm:prSet phldrT="[Text]"/>
      <dgm:spPr>
        <a:noFill/>
        <a:ln>
          <a:noFill/>
        </a:ln>
      </dgm:spPr>
      <dgm:t>
        <a:bodyPr/>
        <a:lstStyle/>
        <a:p>
          <a:r>
            <a:rPr lang="en-US" dirty="0"/>
            <a:t> </a:t>
          </a:r>
        </a:p>
      </dgm:t>
    </dgm:pt>
    <dgm:pt modelId="{167F1445-FAB0-4130-9F73-E58376568DAC}" type="parTrans" cxnId="{597C69A2-901E-41A4-88B0-9595CED78007}">
      <dgm:prSet/>
      <dgm:spPr/>
      <dgm:t>
        <a:bodyPr/>
        <a:lstStyle/>
        <a:p>
          <a:endParaRPr lang="en-US"/>
        </a:p>
      </dgm:t>
    </dgm:pt>
    <dgm:pt modelId="{AB864CB9-36EC-43ED-887D-9B1E8B2C8114}" type="sibTrans" cxnId="{597C69A2-901E-41A4-88B0-9595CED78007}">
      <dgm:prSet/>
      <dgm:spPr/>
      <dgm:t>
        <a:bodyPr/>
        <a:lstStyle/>
        <a:p>
          <a:endParaRPr lang="en-US"/>
        </a:p>
      </dgm:t>
    </dgm:pt>
    <dgm:pt modelId="{3ED19BD1-D47F-4700-9DC5-69393E895603}" type="pres">
      <dgm:prSet presAssocID="{D5EB8FDE-7A8F-4A17-9666-35C6DEB0D4FD}" presName="compositeShape" presStyleCnt="0">
        <dgm:presLayoutVars>
          <dgm:chMax val="7"/>
          <dgm:dir/>
          <dgm:resizeHandles val="exact"/>
        </dgm:presLayoutVars>
      </dgm:prSet>
      <dgm:spPr/>
    </dgm:pt>
    <dgm:pt modelId="{2CC3DBCA-7053-48CC-B849-F9C2A8F0A90C}" type="pres">
      <dgm:prSet presAssocID="{D5EB8FDE-7A8F-4A17-9666-35C6DEB0D4FD}" presName="wedge1" presStyleLbl="node1" presStyleIdx="0" presStyleCnt="5"/>
      <dgm:spPr/>
    </dgm:pt>
    <dgm:pt modelId="{AE4DBB68-6C66-40B6-A03D-B4ABE1E64CD5}" type="pres">
      <dgm:prSet presAssocID="{D5EB8FDE-7A8F-4A17-9666-35C6DEB0D4FD}" presName="dummy1a" presStyleCnt="0"/>
      <dgm:spPr/>
    </dgm:pt>
    <dgm:pt modelId="{79E95653-17CD-48D9-A23B-842FE901F357}" type="pres">
      <dgm:prSet presAssocID="{D5EB8FDE-7A8F-4A17-9666-35C6DEB0D4FD}" presName="dummy1b" presStyleCnt="0"/>
      <dgm:spPr/>
    </dgm:pt>
    <dgm:pt modelId="{BB9FFE00-9D4A-40AA-978E-4A13CD5F72D2}" type="pres">
      <dgm:prSet presAssocID="{D5EB8FDE-7A8F-4A17-9666-35C6DEB0D4FD}" presName="wedge1Tx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CBD59804-62EA-4740-A855-398EF593CF1A}" type="pres">
      <dgm:prSet presAssocID="{D5EB8FDE-7A8F-4A17-9666-35C6DEB0D4FD}" presName="wedge2" presStyleLbl="node1" presStyleIdx="1" presStyleCnt="5"/>
      <dgm:spPr/>
    </dgm:pt>
    <dgm:pt modelId="{1D7B62E3-76B1-486A-957F-8CA2CE1C0AC9}" type="pres">
      <dgm:prSet presAssocID="{D5EB8FDE-7A8F-4A17-9666-35C6DEB0D4FD}" presName="dummy2a" presStyleCnt="0"/>
      <dgm:spPr/>
    </dgm:pt>
    <dgm:pt modelId="{601C9D23-499C-42F0-88C0-823EAF7AB147}" type="pres">
      <dgm:prSet presAssocID="{D5EB8FDE-7A8F-4A17-9666-35C6DEB0D4FD}" presName="dummy2b" presStyleCnt="0"/>
      <dgm:spPr/>
    </dgm:pt>
    <dgm:pt modelId="{7A4ACF71-241B-4957-979C-560E745C5F24}" type="pres">
      <dgm:prSet presAssocID="{D5EB8FDE-7A8F-4A17-9666-35C6DEB0D4FD}" presName="wedge2Tx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D960E537-C582-412E-832F-6027C430448C}" type="pres">
      <dgm:prSet presAssocID="{D5EB8FDE-7A8F-4A17-9666-35C6DEB0D4FD}" presName="wedge3" presStyleLbl="node1" presStyleIdx="2" presStyleCnt="5"/>
      <dgm:spPr/>
    </dgm:pt>
    <dgm:pt modelId="{FB5C6FA5-D8AA-4DB0-B877-315DEF76A3A4}" type="pres">
      <dgm:prSet presAssocID="{D5EB8FDE-7A8F-4A17-9666-35C6DEB0D4FD}" presName="dummy3a" presStyleCnt="0"/>
      <dgm:spPr/>
    </dgm:pt>
    <dgm:pt modelId="{94F123E8-CA21-4B2C-B89F-DE55C8F77435}" type="pres">
      <dgm:prSet presAssocID="{D5EB8FDE-7A8F-4A17-9666-35C6DEB0D4FD}" presName="dummy3b" presStyleCnt="0"/>
      <dgm:spPr/>
    </dgm:pt>
    <dgm:pt modelId="{E35C415E-6B11-4654-976B-25B038EDD692}" type="pres">
      <dgm:prSet presAssocID="{D5EB8FDE-7A8F-4A17-9666-35C6DEB0D4FD}" presName="wedge3Tx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60009D63-51AE-4DCE-8AAE-CF7E4A43D947}" type="pres">
      <dgm:prSet presAssocID="{D5EB8FDE-7A8F-4A17-9666-35C6DEB0D4FD}" presName="wedge4" presStyleLbl="node1" presStyleIdx="3" presStyleCnt="5"/>
      <dgm:spPr/>
    </dgm:pt>
    <dgm:pt modelId="{4565BE1A-FBF1-4633-9057-024F4082F248}" type="pres">
      <dgm:prSet presAssocID="{D5EB8FDE-7A8F-4A17-9666-35C6DEB0D4FD}" presName="dummy4a" presStyleCnt="0"/>
      <dgm:spPr/>
    </dgm:pt>
    <dgm:pt modelId="{196B3820-BB49-4C6D-9087-0D1F2B5C2E4C}" type="pres">
      <dgm:prSet presAssocID="{D5EB8FDE-7A8F-4A17-9666-35C6DEB0D4FD}" presName="dummy4b" presStyleCnt="0"/>
      <dgm:spPr/>
    </dgm:pt>
    <dgm:pt modelId="{F1BB79C9-0402-45F8-8A4F-0A488AEAD453}" type="pres">
      <dgm:prSet presAssocID="{D5EB8FDE-7A8F-4A17-9666-35C6DEB0D4FD}" presName="wedge4Tx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C0CD2827-2DE0-4AB1-8543-D727166995EB}" type="pres">
      <dgm:prSet presAssocID="{D5EB8FDE-7A8F-4A17-9666-35C6DEB0D4FD}" presName="wedge5" presStyleLbl="node1" presStyleIdx="4" presStyleCnt="5"/>
      <dgm:spPr/>
    </dgm:pt>
    <dgm:pt modelId="{19CEDCDE-9E48-4F06-B5F7-76DA6FCDBDF4}" type="pres">
      <dgm:prSet presAssocID="{D5EB8FDE-7A8F-4A17-9666-35C6DEB0D4FD}" presName="dummy5a" presStyleCnt="0"/>
      <dgm:spPr/>
    </dgm:pt>
    <dgm:pt modelId="{5D149668-2ED3-41E3-AD30-76D40076AD6B}" type="pres">
      <dgm:prSet presAssocID="{D5EB8FDE-7A8F-4A17-9666-35C6DEB0D4FD}" presName="dummy5b" presStyleCnt="0"/>
      <dgm:spPr/>
    </dgm:pt>
    <dgm:pt modelId="{DD286FB6-8864-4A3A-A8F5-4D769CFB0EFE}" type="pres">
      <dgm:prSet presAssocID="{D5EB8FDE-7A8F-4A17-9666-35C6DEB0D4FD}" presName="wedge5Tx" presStyleLbl="node1" presStyleIdx="4" presStyleCnt="5">
        <dgm:presLayoutVars>
          <dgm:chMax val="0"/>
          <dgm:chPref val="0"/>
          <dgm:bulletEnabled val="1"/>
        </dgm:presLayoutVars>
      </dgm:prSet>
      <dgm:spPr/>
    </dgm:pt>
    <dgm:pt modelId="{9EFD5D62-2D21-482D-A6AC-3F69BBEE4C40}" type="pres">
      <dgm:prSet presAssocID="{6BF3F2C4-2A64-4817-A025-F4A7AF3BD798}" presName="arrowWedge1" presStyleLbl="fgSibTrans2D1" presStyleIdx="0" presStyleCnt="5"/>
      <dgm:spPr>
        <a:solidFill>
          <a:schemeClr val="accent2">
            <a:lumMod val="20000"/>
            <a:lumOff val="80000"/>
          </a:schemeClr>
        </a:solidFill>
      </dgm:spPr>
    </dgm:pt>
    <dgm:pt modelId="{2A9DD13D-F54E-4AA5-A3CA-7D2D40D89571}" type="pres">
      <dgm:prSet presAssocID="{78493EB1-4958-4FD4-9D91-F91755FB83BA}" presName="arrowWedge2" presStyleLbl="fgSibTrans2D1" presStyleIdx="1" presStyleCnt="5" custLinFactNeighborX="-612"/>
      <dgm:spPr>
        <a:solidFill>
          <a:schemeClr val="accent2">
            <a:lumMod val="20000"/>
            <a:lumOff val="80000"/>
          </a:schemeClr>
        </a:solidFill>
      </dgm:spPr>
    </dgm:pt>
    <dgm:pt modelId="{F431EAED-033F-4883-AF6C-54E1078E73E4}" type="pres">
      <dgm:prSet presAssocID="{E2E68640-3A6B-4479-95B8-E7E32589DD4E}" presName="arrowWedge3" presStyleLbl="fgSibTrans2D1" presStyleIdx="2" presStyleCnt="5"/>
      <dgm:spPr>
        <a:solidFill>
          <a:schemeClr val="accent2">
            <a:lumMod val="20000"/>
            <a:lumOff val="80000"/>
          </a:schemeClr>
        </a:solidFill>
      </dgm:spPr>
    </dgm:pt>
    <dgm:pt modelId="{2F67B917-5A2A-4305-8812-79188D0FFD4C}" type="pres">
      <dgm:prSet presAssocID="{AB864CB9-36EC-43ED-887D-9B1E8B2C8114}" presName="arrowWedge4" presStyleLbl="fgSibTrans2D1" presStyleIdx="3" presStyleCnt="5"/>
      <dgm:spPr>
        <a:solidFill>
          <a:schemeClr val="accent2">
            <a:lumMod val="20000"/>
            <a:lumOff val="80000"/>
          </a:schemeClr>
        </a:solidFill>
      </dgm:spPr>
    </dgm:pt>
    <dgm:pt modelId="{A0864D32-1BAB-44AA-8EB6-131F06EA8ECA}" type="pres">
      <dgm:prSet presAssocID="{7F1DAF11-424D-4E7C-B322-A197206F7880}" presName="arrowWedge5" presStyleLbl="fgSibTrans2D1" presStyleIdx="4" presStyleCnt="5"/>
      <dgm:spPr>
        <a:solidFill>
          <a:schemeClr val="accent2">
            <a:lumMod val="20000"/>
            <a:lumOff val="80000"/>
          </a:schemeClr>
        </a:solidFill>
      </dgm:spPr>
    </dgm:pt>
  </dgm:ptLst>
  <dgm:cxnLst>
    <dgm:cxn modelId="{DFF62215-BEC5-47B7-84E2-738E5B81FC2D}" srcId="{D5EB8FDE-7A8F-4A17-9666-35C6DEB0D4FD}" destId="{EC46A27F-F7F6-4163-ABC2-6A9B81E26568}" srcOrd="2" destOrd="0" parTransId="{8EF0F5DF-7AF8-476A-9D91-2673E05A3D67}" sibTransId="{E2E68640-3A6B-4479-95B8-E7E32589DD4E}"/>
    <dgm:cxn modelId="{1C9B9417-C78B-4E23-BA88-B39D92BA6BB2}" type="presOf" srcId="{FD42B416-D566-495E-8CA6-AA57E0B2E899}" destId="{60009D63-51AE-4DCE-8AAE-CF7E4A43D947}" srcOrd="0" destOrd="0" presId="urn:microsoft.com/office/officeart/2005/8/layout/cycle8"/>
    <dgm:cxn modelId="{BCF72826-49AE-4A88-A8C3-AABF51EE36FC}" type="presOf" srcId="{306AD93F-883C-44FB-843A-2D4F7AD04B13}" destId="{CBD59804-62EA-4740-A855-398EF593CF1A}" srcOrd="0" destOrd="0" presId="urn:microsoft.com/office/officeart/2005/8/layout/cycle8"/>
    <dgm:cxn modelId="{E1333430-632A-4743-925E-32674C25FBC8}" type="presOf" srcId="{1B595D29-583F-4AA8-AC4C-6FC21E5BE40A}" destId="{2CC3DBCA-7053-48CC-B849-F9C2A8F0A90C}" srcOrd="0" destOrd="0" presId="urn:microsoft.com/office/officeart/2005/8/layout/cycle8"/>
    <dgm:cxn modelId="{6AA66544-2E3D-4DC4-BC14-DA0B032F73C9}" type="presOf" srcId="{FD42B416-D566-495E-8CA6-AA57E0B2E899}" destId="{F1BB79C9-0402-45F8-8A4F-0A488AEAD453}" srcOrd="1" destOrd="0" presId="urn:microsoft.com/office/officeart/2005/8/layout/cycle8"/>
    <dgm:cxn modelId="{DB0C3865-2F22-4E8D-9F1F-9591D4EBB993}" type="presOf" srcId="{1B595D29-583F-4AA8-AC4C-6FC21E5BE40A}" destId="{BB9FFE00-9D4A-40AA-978E-4A13CD5F72D2}" srcOrd="1" destOrd="0" presId="urn:microsoft.com/office/officeart/2005/8/layout/cycle8"/>
    <dgm:cxn modelId="{5F067670-BF63-41CB-8E18-3769FEFDFCBD}" type="presOf" srcId="{62577253-F59D-4360-8152-86A6AB1D353E}" destId="{C0CD2827-2DE0-4AB1-8543-D727166995EB}" srcOrd="0" destOrd="0" presId="urn:microsoft.com/office/officeart/2005/8/layout/cycle8"/>
    <dgm:cxn modelId="{22955653-3D2F-4E8B-8FB9-092452BDA1EE}" type="presOf" srcId="{EC46A27F-F7F6-4163-ABC2-6A9B81E26568}" destId="{E35C415E-6B11-4654-976B-25B038EDD692}" srcOrd="1" destOrd="0" presId="urn:microsoft.com/office/officeart/2005/8/layout/cycle8"/>
    <dgm:cxn modelId="{CB7CD559-BB41-4D1C-846B-F14FF0646A4A}" type="presOf" srcId="{62577253-F59D-4360-8152-86A6AB1D353E}" destId="{DD286FB6-8864-4A3A-A8F5-4D769CFB0EFE}" srcOrd="1" destOrd="0" presId="urn:microsoft.com/office/officeart/2005/8/layout/cycle8"/>
    <dgm:cxn modelId="{7EC52987-C592-4C6B-8023-D2536D33BA94}" type="presOf" srcId="{EC46A27F-F7F6-4163-ABC2-6A9B81E26568}" destId="{D960E537-C582-412E-832F-6027C430448C}" srcOrd="0" destOrd="0" presId="urn:microsoft.com/office/officeart/2005/8/layout/cycle8"/>
    <dgm:cxn modelId="{597C69A2-901E-41A4-88B0-9595CED78007}" srcId="{D5EB8FDE-7A8F-4A17-9666-35C6DEB0D4FD}" destId="{FD42B416-D566-495E-8CA6-AA57E0B2E899}" srcOrd="3" destOrd="0" parTransId="{167F1445-FAB0-4130-9F73-E58376568DAC}" sibTransId="{AB864CB9-36EC-43ED-887D-9B1E8B2C8114}"/>
    <dgm:cxn modelId="{083430AB-8A21-4630-9D54-1436218FCFC8}" srcId="{D5EB8FDE-7A8F-4A17-9666-35C6DEB0D4FD}" destId="{62577253-F59D-4360-8152-86A6AB1D353E}" srcOrd="4" destOrd="0" parTransId="{46485D0C-E73D-45F8-9DF3-F1A2C8A7C1BC}" sibTransId="{7F1DAF11-424D-4E7C-B322-A197206F7880}"/>
    <dgm:cxn modelId="{B7169DBA-B8B8-499D-A755-3278833B4C52}" type="presOf" srcId="{306AD93F-883C-44FB-843A-2D4F7AD04B13}" destId="{7A4ACF71-241B-4957-979C-560E745C5F24}" srcOrd="1" destOrd="0" presId="urn:microsoft.com/office/officeart/2005/8/layout/cycle8"/>
    <dgm:cxn modelId="{DA9CA6E0-077C-49C0-B232-7D13D5A2D670}" type="presOf" srcId="{D5EB8FDE-7A8F-4A17-9666-35C6DEB0D4FD}" destId="{3ED19BD1-D47F-4700-9DC5-69393E895603}" srcOrd="0" destOrd="0" presId="urn:microsoft.com/office/officeart/2005/8/layout/cycle8"/>
    <dgm:cxn modelId="{6F834EEC-BC5D-4E4C-A37C-7D9FA2056540}" srcId="{D5EB8FDE-7A8F-4A17-9666-35C6DEB0D4FD}" destId="{306AD93F-883C-44FB-843A-2D4F7AD04B13}" srcOrd="1" destOrd="0" parTransId="{E0DC4806-71F3-4C1D-BCF9-87E87BA5F225}" sibTransId="{78493EB1-4958-4FD4-9D91-F91755FB83BA}"/>
    <dgm:cxn modelId="{0CD540FB-7E49-47ED-BE1D-C25040F4113D}" srcId="{D5EB8FDE-7A8F-4A17-9666-35C6DEB0D4FD}" destId="{1B595D29-583F-4AA8-AC4C-6FC21E5BE40A}" srcOrd="0" destOrd="0" parTransId="{EE435359-F48D-471D-AD07-D476B48A6A8E}" sibTransId="{6BF3F2C4-2A64-4817-A025-F4A7AF3BD798}"/>
    <dgm:cxn modelId="{67EDF894-6F64-4395-92D0-D90E900EEC1B}" type="presParOf" srcId="{3ED19BD1-D47F-4700-9DC5-69393E895603}" destId="{2CC3DBCA-7053-48CC-B849-F9C2A8F0A90C}" srcOrd="0" destOrd="0" presId="urn:microsoft.com/office/officeart/2005/8/layout/cycle8"/>
    <dgm:cxn modelId="{76777073-D7E9-49A5-BCCF-FE84F4F5FEF2}" type="presParOf" srcId="{3ED19BD1-D47F-4700-9DC5-69393E895603}" destId="{AE4DBB68-6C66-40B6-A03D-B4ABE1E64CD5}" srcOrd="1" destOrd="0" presId="urn:microsoft.com/office/officeart/2005/8/layout/cycle8"/>
    <dgm:cxn modelId="{07B4104E-5E15-49A9-8F57-8A19887AC843}" type="presParOf" srcId="{3ED19BD1-D47F-4700-9DC5-69393E895603}" destId="{79E95653-17CD-48D9-A23B-842FE901F357}" srcOrd="2" destOrd="0" presId="urn:microsoft.com/office/officeart/2005/8/layout/cycle8"/>
    <dgm:cxn modelId="{AD948D42-D8D8-4D89-8CB3-BFA2038724AB}" type="presParOf" srcId="{3ED19BD1-D47F-4700-9DC5-69393E895603}" destId="{BB9FFE00-9D4A-40AA-978E-4A13CD5F72D2}" srcOrd="3" destOrd="0" presId="urn:microsoft.com/office/officeart/2005/8/layout/cycle8"/>
    <dgm:cxn modelId="{0826D5A3-81B2-42D5-B40A-D6892BDF8DFC}" type="presParOf" srcId="{3ED19BD1-D47F-4700-9DC5-69393E895603}" destId="{CBD59804-62EA-4740-A855-398EF593CF1A}" srcOrd="4" destOrd="0" presId="urn:microsoft.com/office/officeart/2005/8/layout/cycle8"/>
    <dgm:cxn modelId="{510365EF-DBD7-4C85-9CCA-00C01026BFFB}" type="presParOf" srcId="{3ED19BD1-D47F-4700-9DC5-69393E895603}" destId="{1D7B62E3-76B1-486A-957F-8CA2CE1C0AC9}" srcOrd="5" destOrd="0" presId="urn:microsoft.com/office/officeart/2005/8/layout/cycle8"/>
    <dgm:cxn modelId="{A2A7B43C-3665-4CE8-BCE6-D8EE86A56C98}" type="presParOf" srcId="{3ED19BD1-D47F-4700-9DC5-69393E895603}" destId="{601C9D23-499C-42F0-88C0-823EAF7AB147}" srcOrd="6" destOrd="0" presId="urn:microsoft.com/office/officeart/2005/8/layout/cycle8"/>
    <dgm:cxn modelId="{82CDDB7F-9655-4850-A48E-5647BF54891F}" type="presParOf" srcId="{3ED19BD1-D47F-4700-9DC5-69393E895603}" destId="{7A4ACF71-241B-4957-979C-560E745C5F24}" srcOrd="7" destOrd="0" presId="urn:microsoft.com/office/officeart/2005/8/layout/cycle8"/>
    <dgm:cxn modelId="{8C9F2E25-FFC0-42CB-8E11-9F4918CBAEBE}" type="presParOf" srcId="{3ED19BD1-D47F-4700-9DC5-69393E895603}" destId="{D960E537-C582-412E-832F-6027C430448C}" srcOrd="8" destOrd="0" presId="urn:microsoft.com/office/officeart/2005/8/layout/cycle8"/>
    <dgm:cxn modelId="{4B3B149A-D13D-4EB3-AAC0-0D5C51438122}" type="presParOf" srcId="{3ED19BD1-D47F-4700-9DC5-69393E895603}" destId="{FB5C6FA5-D8AA-4DB0-B877-315DEF76A3A4}" srcOrd="9" destOrd="0" presId="urn:microsoft.com/office/officeart/2005/8/layout/cycle8"/>
    <dgm:cxn modelId="{CDE897F4-D452-4471-B79B-4B3049C5F31B}" type="presParOf" srcId="{3ED19BD1-D47F-4700-9DC5-69393E895603}" destId="{94F123E8-CA21-4B2C-B89F-DE55C8F77435}" srcOrd="10" destOrd="0" presId="urn:microsoft.com/office/officeart/2005/8/layout/cycle8"/>
    <dgm:cxn modelId="{4106DE2F-9FA4-4CEC-8EAC-2C0FE92B65B7}" type="presParOf" srcId="{3ED19BD1-D47F-4700-9DC5-69393E895603}" destId="{E35C415E-6B11-4654-976B-25B038EDD692}" srcOrd="11" destOrd="0" presId="urn:microsoft.com/office/officeart/2005/8/layout/cycle8"/>
    <dgm:cxn modelId="{DB13A9DF-1ABE-4DE3-B227-9D67E33F6FBA}" type="presParOf" srcId="{3ED19BD1-D47F-4700-9DC5-69393E895603}" destId="{60009D63-51AE-4DCE-8AAE-CF7E4A43D947}" srcOrd="12" destOrd="0" presId="urn:microsoft.com/office/officeart/2005/8/layout/cycle8"/>
    <dgm:cxn modelId="{3AB722C8-0958-4F97-8835-AE341CA63B61}" type="presParOf" srcId="{3ED19BD1-D47F-4700-9DC5-69393E895603}" destId="{4565BE1A-FBF1-4633-9057-024F4082F248}" srcOrd="13" destOrd="0" presId="urn:microsoft.com/office/officeart/2005/8/layout/cycle8"/>
    <dgm:cxn modelId="{E1BEC60D-276B-44B0-B3D9-51147FBD187C}" type="presParOf" srcId="{3ED19BD1-D47F-4700-9DC5-69393E895603}" destId="{196B3820-BB49-4C6D-9087-0D1F2B5C2E4C}" srcOrd="14" destOrd="0" presId="urn:microsoft.com/office/officeart/2005/8/layout/cycle8"/>
    <dgm:cxn modelId="{34A40DB1-3A51-447F-AE67-54426C857C8B}" type="presParOf" srcId="{3ED19BD1-D47F-4700-9DC5-69393E895603}" destId="{F1BB79C9-0402-45F8-8A4F-0A488AEAD453}" srcOrd="15" destOrd="0" presId="urn:microsoft.com/office/officeart/2005/8/layout/cycle8"/>
    <dgm:cxn modelId="{C446B68F-18B5-41A6-8F24-0D3AA805A27A}" type="presParOf" srcId="{3ED19BD1-D47F-4700-9DC5-69393E895603}" destId="{C0CD2827-2DE0-4AB1-8543-D727166995EB}" srcOrd="16" destOrd="0" presId="urn:microsoft.com/office/officeart/2005/8/layout/cycle8"/>
    <dgm:cxn modelId="{E01AF255-CC1A-4B19-92B9-DE8FCD7FA39C}" type="presParOf" srcId="{3ED19BD1-D47F-4700-9DC5-69393E895603}" destId="{19CEDCDE-9E48-4F06-B5F7-76DA6FCDBDF4}" srcOrd="17" destOrd="0" presId="urn:microsoft.com/office/officeart/2005/8/layout/cycle8"/>
    <dgm:cxn modelId="{66048BC9-628B-4A90-9B81-8F076551919D}" type="presParOf" srcId="{3ED19BD1-D47F-4700-9DC5-69393E895603}" destId="{5D149668-2ED3-41E3-AD30-76D40076AD6B}" srcOrd="18" destOrd="0" presId="urn:microsoft.com/office/officeart/2005/8/layout/cycle8"/>
    <dgm:cxn modelId="{34FF8549-0A75-414D-B791-875FE58F45D5}" type="presParOf" srcId="{3ED19BD1-D47F-4700-9DC5-69393E895603}" destId="{DD286FB6-8864-4A3A-A8F5-4D769CFB0EFE}" srcOrd="19" destOrd="0" presId="urn:microsoft.com/office/officeart/2005/8/layout/cycle8"/>
    <dgm:cxn modelId="{73C5559B-83C6-4DF1-BBA0-496506A62BFB}" type="presParOf" srcId="{3ED19BD1-D47F-4700-9DC5-69393E895603}" destId="{9EFD5D62-2D21-482D-A6AC-3F69BBEE4C40}" srcOrd="20" destOrd="0" presId="urn:microsoft.com/office/officeart/2005/8/layout/cycle8"/>
    <dgm:cxn modelId="{5BA5503A-92AF-4F46-9604-484AFD41DA0C}" type="presParOf" srcId="{3ED19BD1-D47F-4700-9DC5-69393E895603}" destId="{2A9DD13D-F54E-4AA5-A3CA-7D2D40D89571}" srcOrd="21" destOrd="0" presId="urn:microsoft.com/office/officeart/2005/8/layout/cycle8"/>
    <dgm:cxn modelId="{931B5167-A6D0-41CA-A07C-C7465542BE81}" type="presParOf" srcId="{3ED19BD1-D47F-4700-9DC5-69393E895603}" destId="{F431EAED-033F-4883-AF6C-54E1078E73E4}" srcOrd="22" destOrd="0" presId="urn:microsoft.com/office/officeart/2005/8/layout/cycle8"/>
    <dgm:cxn modelId="{815831C8-D0E5-4931-AAD1-D1D4D9C93CF5}" type="presParOf" srcId="{3ED19BD1-D47F-4700-9DC5-69393E895603}" destId="{2F67B917-5A2A-4305-8812-79188D0FFD4C}" srcOrd="23" destOrd="0" presId="urn:microsoft.com/office/officeart/2005/8/layout/cycle8"/>
    <dgm:cxn modelId="{3E40D4C8-C15C-497E-8B29-9D5474BFF663}" type="presParOf" srcId="{3ED19BD1-D47F-4700-9DC5-69393E895603}" destId="{A0864D32-1BAB-44AA-8EB6-131F06EA8ECA}" srcOrd="24" destOrd="0" presId="urn:microsoft.com/office/officeart/2005/8/layout/cycle8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C3DBCA-7053-48CC-B849-F9C2A8F0A90C}">
      <dsp:nvSpPr>
        <dsp:cNvPr id="0" name=""/>
        <dsp:cNvSpPr/>
      </dsp:nvSpPr>
      <dsp:spPr>
        <a:xfrm>
          <a:off x="459334" y="86606"/>
          <a:ext cx="1175269" cy="1175269"/>
        </a:xfrm>
        <a:prstGeom prst="pie">
          <a:avLst>
            <a:gd name="adj1" fmla="val 16200000"/>
            <a:gd name="adj2" fmla="val 2052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 </a:t>
          </a:r>
        </a:p>
      </dsp:txBody>
      <dsp:txXfrm>
        <a:off x="1072433" y="284163"/>
        <a:ext cx="377765" cy="251843"/>
      </dsp:txXfrm>
    </dsp:sp>
    <dsp:sp modelId="{CBD59804-62EA-4740-A855-398EF593CF1A}">
      <dsp:nvSpPr>
        <dsp:cNvPr id="0" name=""/>
        <dsp:cNvSpPr/>
      </dsp:nvSpPr>
      <dsp:spPr>
        <a:xfrm>
          <a:off x="469408" y="117946"/>
          <a:ext cx="1175269" cy="1175269"/>
        </a:xfrm>
        <a:prstGeom prst="pie">
          <a:avLst>
            <a:gd name="adj1" fmla="val 20520000"/>
            <a:gd name="adj2" fmla="val 324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 </a:t>
          </a:r>
        </a:p>
      </dsp:txBody>
      <dsp:txXfrm>
        <a:off x="1226337" y="654932"/>
        <a:ext cx="349782" cy="279826"/>
      </dsp:txXfrm>
    </dsp:sp>
    <dsp:sp modelId="{D960E537-C582-412E-832F-6027C430448C}">
      <dsp:nvSpPr>
        <dsp:cNvPr id="0" name=""/>
        <dsp:cNvSpPr/>
      </dsp:nvSpPr>
      <dsp:spPr>
        <a:xfrm>
          <a:off x="442824" y="137254"/>
          <a:ext cx="1175269" cy="1175269"/>
        </a:xfrm>
        <a:prstGeom prst="pie">
          <a:avLst>
            <a:gd name="adj1" fmla="val 3240000"/>
            <a:gd name="adj2" fmla="val 756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 </a:t>
          </a:r>
        </a:p>
      </dsp:txBody>
      <dsp:txXfrm>
        <a:off x="862563" y="962741"/>
        <a:ext cx="335791" cy="307808"/>
      </dsp:txXfrm>
    </dsp:sp>
    <dsp:sp modelId="{60009D63-51AE-4DCE-8AAE-CF7E4A43D947}">
      <dsp:nvSpPr>
        <dsp:cNvPr id="0" name=""/>
        <dsp:cNvSpPr/>
      </dsp:nvSpPr>
      <dsp:spPr>
        <a:xfrm>
          <a:off x="416241" y="117946"/>
          <a:ext cx="1175269" cy="1175269"/>
        </a:xfrm>
        <a:prstGeom prst="pie">
          <a:avLst>
            <a:gd name="adj1" fmla="val 7560000"/>
            <a:gd name="adj2" fmla="val 1188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 </a:t>
          </a:r>
        </a:p>
      </dsp:txBody>
      <dsp:txXfrm>
        <a:off x="484798" y="654932"/>
        <a:ext cx="349782" cy="279826"/>
      </dsp:txXfrm>
    </dsp:sp>
    <dsp:sp modelId="{C0CD2827-2DE0-4AB1-8543-D727166995EB}">
      <dsp:nvSpPr>
        <dsp:cNvPr id="0" name=""/>
        <dsp:cNvSpPr/>
      </dsp:nvSpPr>
      <dsp:spPr>
        <a:xfrm>
          <a:off x="426315" y="86606"/>
          <a:ext cx="1175269" cy="1175269"/>
        </a:xfrm>
        <a:prstGeom prst="pie">
          <a:avLst>
            <a:gd name="adj1" fmla="val 11880000"/>
            <a:gd name="adj2" fmla="val 1620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 </a:t>
          </a:r>
        </a:p>
      </dsp:txBody>
      <dsp:txXfrm>
        <a:off x="610720" y="284163"/>
        <a:ext cx="377765" cy="251843"/>
      </dsp:txXfrm>
    </dsp:sp>
    <dsp:sp modelId="{9EFD5D62-2D21-482D-A6AC-3F69BBEE4C40}">
      <dsp:nvSpPr>
        <dsp:cNvPr id="0" name=""/>
        <dsp:cNvSpPr/>
      </dsp:nvSpPr>
      <dsp:spPr>
        <a:xfrm>
          <a:off x="386524" y="13851"/>
          <a:ext cx="1320778" cy="1320778"/>
        </a:xfrm>
        <a:prstGeom prst="circularArrow">
          <a:avLst>
            <a:gd name="adj1" fmla="val 5085"/>
            <a:gd name="adj2" fmla="val 327528"/>
            <a:gd name="adj3" fmla="val 20192361"/>
            <a:gd name="adj4" fmla="val 16200324"/>
            <a:gd name="adj5" fmla="val 5932"/>
          </a:avLst>
        </a:prstGeom>
        <a:solidFill>
          <a:schemeClr val="accent2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9DD13D-F54E-4AA5-A3CA-7D2D40D89571}">
      <dsp:nvSpPr>
        <dsp:cNvPr id="0" name=""/>
        <dsp:cNvSpPr/>
      </dsp:nvSpPr>
      <dsp:spPr>
        <a:xfrm>
          <a:off x="388651" y="45181"/>
          <a:ext cx="1320778" cy="1320778"/>
        </a:xfrm>
        <a:prstGeom prst="circularArrow">
          <a:avLst>
            <a:gd name="adj1" fmla="val 5085"/>
            <a:gd name="adj2" fmla="val 327528"/>
            <a:gd name="adj3" fmla="val 2912753"/>
            <a:gd name="adj4" fmla="val 20519953"/>
            <a:gd name="adj5" fmla="val 5932"/>
          </a:avLst>
        </a:prstGeom>
        <a:solidFill>
          <a:schemeClr val="accent2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31EAED-033F-4883-AF6C-54E1078E73E4}">
      <dsp:nvSpPr>
        <dsp:cNvPr id="0" name=""/>
        <dsp:cNvSpPr/>
      </dsp:nvSpPr>
      <dsp:spPr>
        <a:xfrm>
          <a:off x="370070" y="64548"/>
          <a:ext cx="1320778" cy="1320778"/>
        </a:xfrm>
        <a:prstGeom prst="circularArrow">
          <a:avLst>
            <a:gd name="adj1" fmla="val 5085"/>
            <a:gd name="adj2" fmla="val 327528"/>
            <a:gd name="adj3" fmla="val 7232777"/>
            <a:gd name="adj4" fmla="val 3239695"/>
            <a:gd name="adj5" fmla="val 5932"/>
          </a:avLst>
        </a:prstGeom>
        <a:solidFill>
          <a:schemeClr val="accent2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67B917-5A2A-4305-8812-79188D0FFD4C}">
      <dsp:nvSpPr>
        <dsp:cNvPr id="0" name=""/>
        <dsp:cNvSpPr/>
      </dsp:nvSpPr>
      <dsp:spPr>
        <a:xfrm>
          <a:off x="343405" y="45181"/>
          <a:ext cx="1320778" cy="1320778"/>
        </a:xfrm>
        <a:prstGeom prst="circularArrow">
          <a:avLst>
            <a:gd name="adj1" fmla="val 5085"/>
            <a:gd name="adj2" fmla="val 327528"/>
            <a:gd name="adj3" fmla="val 11552519"/>
            <a:gd name="adj4" fmla="val 7559718"/>
            <a:gd name="adj5" fmla="val 5932"/>
          </a:avLst>
        </a:prstGeom>
        <a:solidFill>
          <a:schemeClr val="accent2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864D32-1BAB-44AA-8EB6-131F06EA8ECA}">
      <dsp:nvSpPr>
        <dsp:cNvPr id="0" name=""/>
        <dsp:cNvSpPr/>
      </dsp:nvSpPr>
      <dsp:spPr>
        <a:xfrm>
          <a:off x="353615" y="13851"/>
          <a:ext cx="1320778" cy="1320778"/>
        </a:xfrm>
        <a:prstGeom prst="circularArrow">
          <a:avLst>
            <a:gd name="adj1" fmla="val 5085"/>
            <a:gd name="adj2" fmla="val 327528"/>
            <a:gd name="adj3" fmla="val 15872148"/>
            <a:gd name="adj4" fmla="val 11880111"/>
            <a:gd name="adj5" fmla="val 5932"/>
          </a:avLst>
        </a:prstGeom>
        <a:solidFill>
          <a:schemeClr val="accent2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160520" cy="3657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438458" y="0"/>
            <a:ext cx="4160520" cy="3657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B9107FD8-C5C2-49AA-8763-330456C4265B}" type="datetimeFigureOut">
              <a:rPr lang="en-US" smtClean="0"/>
              <a:t>10/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63788" y="549275"/>
            <a:ext cx="4873625" cy="27432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60120" y="3474720"/>
            <a:ext cx="7680960" cy="3291840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948171"/>
            <a:ext cx="4160520" cy="3657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438458" y="6948171"/>
            <a:ext cx="4160520" cy="3657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9A2CE313-AB3A-4BDE-8E67-9897B222C4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1515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123158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561579" algn="l" defTabSz="1123158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1123158" algn="l" defTabSz="1123158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684736" algn="l" defTabSz="1123158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2246315" algn="l" defTabSz="1123158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2807894" algn="l" defTabSz="1123158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369473" algn="l" defTabSz="1123158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3931051" algn="l" defTabSz="1123158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492630" algn="l" defTabSz="1123158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9C8D54-289B-4F4B-A8A4-6BFD186E336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9921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bles: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20173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bles: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9095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bles: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72444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bles: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4310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63788" y="549275"/>
            <a:ext cx="4873625" cy="27432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4783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63788" y="549275"/>
            <a:ext cx="4873625" cy="27432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27449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bles: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72115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bles: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63448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bles: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7522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bles: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75229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 | Prefer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1" y="4114800"/>
            <a:ext cx="12188826" cy="274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2"/>
            <a:ext cx="12188825" cy="4350553"/>
          </a:xfrm>
          <a:solidFill>
            <a:schemeClr val="bg2"/>
          </a:solidFill>
        </p:spPr>
        <p:txBody>
          <a:bodyPr anchor="ctr"/>
          <a:lstStyle>
            <a:lvl1pPr algn="ctr">
              <a:lnSpc>
                <a:spcPct val="80000"/>
              </a:lnSpc>
              <a:defRPr sz="8800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  <a:br>
              <a:rPr lang="en-US" dirty="0"/>
            </a:br>
            <a:r>
              <a:rPr lang="en-US" dirty="0"/>
              <a:t>with Aetna logo 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701844" y="4548186"/>
            <a:ext cx="6794350" cy="1215588"/>
          </a:xfrm>
        </p:spPr>
        <p:txBody>
          <a:bodyPr anchor="b"/>
          <a:lstStyle>
            <a:lvl1pPr algn="ctr">
              <a:lnSpc>
                <a:spcPct val="80000"/>
              </a:lnSpc>
              <a:defRPr sz="5400" b="0" i="0" cap="none" baseline="0">
                <a:solidFill>
                  <a:srgbClr val="FFFFFF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72410" y="6173393"/>
            <a:ext cx="2362199" cy="431800"/>
          </a:xfrm>
        </p:spPr>
        <p:txBody>
          <a:bodyPr anchor="b"/>
          <a:lstStyle>
            <a:lvl1pPr>
              <a:defRPr sz="11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noProof="0" dirty="0"/>
              <a:t>Presenter Nam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389896" y="6173393"/>
            <a:ext cx="2362199" cy="431800"/>
          </a:xfrm>
        </p:spPr>
        <p:txBody>
          <a:bodyPr anchor="b"/>
          <a:lstStyle>
            <a:lvl1pPr algn="r">
              <a:defRPr sz="11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02123" y="5821809"/>
            <a:ext cx="5193792" cy="335328"/>
          </a:xfrm>
        </p:spPr>
        <p:txBody>
          <a:bodyPr anchor="t">
            <a:normAutofit/>
          </a:bodyPr>
          <a:lstStyle>
            <a:lvl1pPr marL="0" indent="0" algn="ctr">
              <a:buNone/>
              <a:defRPr sz="1700" b="0" cap="none" spc="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20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1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2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3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4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25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46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6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3428485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223" y="320040"/>
            <a:ext cx="9494849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23224" y="1330325"/>
            <a:ext cx="9476426" cy="4846320"/>
          </a:xfrm>
        </p:spPr>
        <p:txBody>
          <a:bodyPr/>
          <a:lstStyle>
            <a:lvl1pPr>
              <a:spcBef>
                <a:spcPts val="2211"/>
              </a:spcBef>
              <a:defRPr sz="1700" b="1" i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0" indent="0">
              <a:spcBef>
                <a:spcPts val="1474"/>
              </a:spcBef>
              <a:buFontTx/>
              <a:buNone/>
              <a:defRPr sz="1700"/>
            </a:lvl2pPr>
            <a:lvl3pPr marL="184317" indent="-184317">
              <a:spcBef>
                <a:spcPts val="737"/>
              </a:spcBef>
              <a:buFont typeface="Arial"/>
              <a:buChar char="•"/>
              <a:defRPr sz="1700"/>
            </a:lvl3pPr>
            <a:lvl4pPr marL="367172" indent="-184317">
              <a:spcBef>
                <a:spcPts val="368"/>
              </a:spcBef>
              <a:buFont typeface="Lucida Grande"/>
              <a:buChar char="-"/>
              <a:defRPr sz="1700"/>
            </a:lvl4pPr>
            <a:lvl5pPr>
              <a:defRPr sz="17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 </a:t>
            </a:r>
          </a:p>
          <a:p>
            <a:pPr lvl="2"/>
            <a:r>
              <a:rPr lang="en-US" dirty="0"/>
              <a:t>Second-level</a:t>
            </a:r>
          </a:p>
          <a:p>
            <a:pPr lvl="3"/>
            <a:r>
              <a:rPr lang="en-US" dirty="0"/>
              <a:t>Third-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26609" y="1051560"/>
            <a:ext cx="1133264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6068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66739" y="416157"/>
            <a:ext cx="4088928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7784" y="1755739"/>
            <a:ext cx="8586216" cy="3985305"/>
          </a:xfrm>
        </p:spPr>
        <p:txBody>
          <a:bodyPr/>
          <a:lstStyle>
            <a:lvl1pPr>
              <a:spcBef>
                <a:spcPts val="1800"/>
              </a:spcBef>
              <a:spcAft>
                <a:spcPts val="0"/>
              </a:spcAft>
              <a:defRPr sz="18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1778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 baseline="0"/>
            </a:lvl3pPr>
            <a:lvl4pPr marL="342900" indent="-165100">
              <a:spcBef>
                <a:spcPts val="600"/>
              </a:spcBef>
              <a:buFont typeface="Arial" panose="020B0604020202020204" pitchFamily="34" charset="0"/>
              <a:buChar char="–"/>
              <a:defRPr sz="1400" baseline="0"/>
            </a:lvl4pPr>
            <a:lvl5pPr marL="5207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5pPr>
            <a:lvl6pPr marL="685800" indent="-165100">
              <a:spcBef>
                <a:spcPts val="600"/>
              </a:spcBef>
              <a:buFont typeface="Arial" panose="020B0604020202020204" pitchFamily="34" charset="0"/>
              <a:buChar char="–"/>
              <a:defRPr baseline="0"/>
            </a:lvl6pPr>
            <a:lvl7pPr marL="863600" indent="-177800">
              <a:spcBef>
                <a:spcPts val="600"/>
              </a:spcBef>
              <a:buFont typeface="Arial" panose="020B0604020202020204" pitchFamily="34" charset="0"/>
              <a:buChar char="•"/>
              <a:defRPr/>
            </a:lvl7pPr>
            <a:lvl8pPr marL="1028700" indent="-165100">
              <a:spcBef>
                <a:spcPts val="600"/>
              </a:spcBef>
              <a:buFont typeface="Arial" panose="020B0604020202020204" pitchFamily="34" charset="0"/>
              <a:buChar char="–"/>
              <a:defRPr/>
            </a:lvl8pPr>
            <a:lvl9pPr marL="1206500" indent="-177800">
              <a:spcBef>
                <a:spcPts val="600"/>
              </a:spcBef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51203152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66739" y="416157"/>
            <a:ext cx="4088928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4" name="Text Placeholder 19">
            <a:extLst>
              <a:ext uri="{FF2B5EF4-FFF2-40B4-BE49-F238E27FC236}">
                <a16:creationId xmlns:a16="http://schemas.microsoft.com/office/drawing/2014/main" id="{CD3DA619-C657-4377-909C-6D3A110F55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3257" y="1756548"/>
            <a:ext cx="3913633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99D62640-4C2F-4EEE-8702-E19D55A971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1452" y="1756548"/>
            <a:ext cx="3911512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04654821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1270" y="3022967"/>
            <a:ext cx="5726284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369289338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1270" y="3022967"/>
            <a:ext cx="5726284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292353154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/>
        </p:nvSpPr>
        <p:spPr>
          <a:xfrm>
            <a:off x="0" y="6257926"/>
            <a:ext cx="12188825" cy="600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1270" y="3022967"/>
            <a:ext cx="5726284" cy="812066"/>
          </a:xfrm>
        </p:spPr>
        <p:txBody>
          <a:bodyPr rIns="0" anchor="ctr"/>
          <a:lstStyle>
            <a:lvl1pPr algn="ctr">
              <a:defRPr sz="32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189189779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784" y="1767532"/>
            <a:ext cx="8586216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79901983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966520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784" y="1767532"/>
            <a:ext cx="8586216" cy="3977640"/>
          </a:xfrm>
        </p:spPr>
        <p:txBody>
          <a:bodyPr/>
          <a:lstStyle>
            <a:lvl1pPr>
              <a:buClr>
                <a:schemeClr val="tx1"/>
              </a:buClr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4pPr>
            <a:lvl5pPr marL="515938" indent="-173038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  <a:lvl6pPr marL="687388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53485287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966520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wo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784" y="1767532"/>
            <a:ext cx="5237114" cy="397351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6382512" y="1767532"/>
            <a:ext cx="5237114" cy="397351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57190496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966520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hre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784" y="1764792"/>
            <a:ext cx="3433191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370832" y="1764792"/>
            <a:ext cx="3433191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8183880" y="1764792"/>
            <a:ext cx="3433191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80085399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966520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our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784" y="1764792"/>
            <a:ext cx="2505456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410712" y="1764792"/>
            <a:ext cx="2505456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6254496" y="1764792"/>
            <a:ext cx="2505456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9098280" y="1764792"/>
            <a:ext cx="2505456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2947069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| ImageLFT |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484971" cy="6858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86477" y="320040"/>
            <a:ext cx="5648323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1" y="1325880"/>
            <a:ext cx="5651500" cy="4846320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 dirty="0"/>
              <a:t>First-level</a:t>
            </a:r>
          </a:p>
          <a:p>
            <a:pPr lvl="1"/>
            <a:r>
              <a:rPr lang="en-US" dirty="0"/>
              <a:t>Second-level</a:t>
            </a:r>
          </a:p>
          <a:p>
            <a:pPr lvl="2"/>
            <a:r>
              <a:rPr lang="en-US" dirty="0"/>
              <a:t>Third-level</a:t>
            </a:r>
          </a:p>
        </p:txBody>
      </p:sp>
      <p:sp>
        <p:nvSpPr>
          <p:cNvPr id="7" name="Content Placeholder 8"/>
          <p:cNvSpPr txBox="1">
            <a:spLocks/>
          </p:cNvSpPr>
          <p:nvPr userDrawn="1"/>
        </p:nvSpPr>
        <p:spPr>
          <a:xfrm>
            <a:off x="457200" y="6418626"/>
            <a:ext cx="385921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FFFFFF"/>
                </a:solidFill>
              </a:rPr>
              <a:t>©2018 Aetna Inc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079696" y="1051560"/>
            <a:ext cx="566780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5658793" y="6262778"/>
            <a:ext cx="1770829" cy="59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b="1" dirty="0">
              <a:solidFill>
                <a:srgbClr val="FFFFFF"/>
              </a:solidFill>
              <a:latin typeface="Open Sans Bold"/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194018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ntent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966520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ive column journey layou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064664" y="3475038"/>
            <a:ext cx="1673352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152826" y="3475038"/>
            <a:ext cx="1673352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5240988" y="3475038"/>
            <a:ext cx="1673352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7329150" y="3475038"/>
            <a:ext cx="1673352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3" hasCustomPrompt="1"/>
          </p:nvPr>
        </p:nvSpPr>
        <p:spPr bwMode="gray">
          <a:xfrm>
            <a:off x="9417312" y="3475038"/>
            <a:ext cx="1673352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</p:spTree>
    <p:extLst>
      <p:ext uri="{BB962C8B-B14F-4D97-AF65-F5344CB8AC3E}">
        <p14:creationId xmlns:p14="http://schemas.microsoft.com/office/powerpoint/2010/main" val="229128522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a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layou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69625" y="1752600"/>
            <a:ext cx="9049575" cy="297573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566843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with text layou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6495" y="1764792"/>
            <a:ext cx="7172418" cy="297573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783" y="1767531"/>
            <a:ext cx="3438144" cy="297180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None/>
              <a:defRPr baseline="0">
                <a:solidFill>
                  <a:schemeClr val="tx2"/>
                </a:solidFill>
              </a:defRPr>
            </a:lvl2pPr>
            <a:lvl3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6510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4pPr>
            <a:lvl5pPr marL="515938" indent="-173038">
              <a:buClrTx/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6pPr>
            <a:lvl7pPr marL="860425" indent="-173038">
              <a:buClrTx/>
              <a:buFont typeface="Arial" panose="020B0604020202020204" pitchFamily="34" charset="0"/>
              <a:buChar char="•"/>
              <a:defRPr/>
            </a:lvl7pPr>
            <a:lvl8pPr marL="1031875" indent="-171450">
              <a:buClrTx/>
              <a:buFont typeface="Arial" panose="020B0604020202020204" pitchFamily="34" charset="0"/>
              <a:buChar char="–"/>
              <a:defRPr/>
            </a:lvl8pPr>
            <a:lvl9pPr marL="1203325" indent="-171450">
              <a:buClrTx/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97124474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488289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omparison slid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2582" y="6373316"/>
            <a:ext cx="1279180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0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5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253148" y="3718011"/>
            <a:ext cx="3493008" cy="2023033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tx2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2pPr>
            <a:lvl3pPr marL="404813" indent="-173038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 marL="977900" indent="-177800">
              <a:buClrTx/>
              <a:defRPr sz="1600"/>
            </a:lvl6pPr>
            <a:lvl7pPr marL="1143000" indent="-165100">
              <a:buClrTx/>
              <a:defRPr sz="1600"/>
            </a:lvl7pPr>
            <a:lvl8pPr marL="1320800" indent="-177800"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7378375" y="3718011"/>
            <a:ext cx="3493008" cy="2023033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bg1"/>
                </a:solidFill>
              </a:defRPr>
            </a:lvl2pPr>
            <a:lvl3pPr marL="231775" indent="0">
              <a:spcBef>
                <a:spcPts val="600"/>
              </a:spcBef>
              <a:buClrTx/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62509742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CFACB8A6-3813-48D2-B8CE-038DD1E42B32}"/>
              </a:ext>
            </a:extLst>
          </p:cNvPr>
          <p:cNvSpPr/>
          <p:nvPr/>
        </p:nvSpPr>
        <p:spPr>
          <a:xfrm>
            <a:off x="218661" y="6241774"/>
            <a:ext cx="5585791" cy="6162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5FE79D5-35B2-49F2-B15D-DA1A165F3786}"/>
              </a:ext>
            </a:extLst>
          </p:cNvPr>
          <p:cNvSpPr/>
          <p:nvPr/>
        </p:nvSpPr>
        <p:spPr>
          <a:xfrm>
            <a:off x="4061837" y="0"/>
            <a:ext cx="405709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8E372-A3D9-43BC-A3BE-4011C8DA5B98}"/>
              </a:ext>
            </a:extLst>
          </p:cNvPr>
          <p:cNvSpPr/>
          <p:nvPr/>
        </p:nvSpPr>
        <p:spPr>
          <a:xfrm>
            <a:off x="8118931" y="0"/>
            <a:ext cx="406989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2582" y="6373316"/>
            <a:ext cx="1279180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80785A3E-DA24-410F-9CAE-7070C42B58B4}"/>
              </a:ext>
            </a:extLst>
          </p:cNvPr>
          <p:cNvSpPr txBox="1">
            <a:spLocks/>
          </p:cNvSpPr>
          <p:nvPr/>
        </p:nvSpPr>
        <p:spPr>
          <a:xfrm>
            <a:off x="557784" y="6376946"/>
            <a:ext cx="352367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62BE1DE7-64C2-4B16-AD38-1C91E86AECEB}"/>
              </a:ext>
            </a:extLst>
          </p:cNvPr>
          <p:cNvSpPr txBox="1">
            <a:spLocks/>
          </p:cNvSpPr>
          <p:nvPr/>
        </p:nvSpPr>
        <p:spPr>
          <a:xfrm>
            <a:off x="859536" y="6376946"/>
            <a:ext cx="385921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846770" y="3148861"/>
            <a:ext cx="2368296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dirty="0">
                <a:solidFill>
                  <a:schemeClr val="tx2"/>
                </a:solidFill>
              </a:defRPr>
            </a:lvl5pPr>
            <a:lvl6pPr>
              <a:buClrTx/>
              <a:defRPr sz="1600"/>
            </a:lvl6pPr>
            <a:lvl7pPr>
              <a:buClrTx/>
              <a:defRPr sz="1600"/>
            </a:lvl7pPr>
            <a:lvl8pPr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" hasCustomPrompt="1"/>
          </p:nvPr>
        </p:nvSpPr>
        <p:spPr bwMode="gray">
          <a:xfrm>
            <a:off x="4906236" y="3148861"/>
            <a:ext cx="2368296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baseline="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baseline="0" dirty="0">
                <a:solidFill>
                  <a:schemeClr val="tx2"/>
                </a:solidFill>
              </a:defRPr>
            </a:lvl5pPr>
            <a:lvl6pPr>
              <a:buClrTx/>
              <a:defRPr sz="1600" baseline="0">
                <a:solidFill>
                  <a:schemeClr val="tx2"/>
                </a:solidFill>
              </a:defRPr>
            </a:lvl6pPr>
            <a:lvl7pPr>
              <a:buClrTx/>
              <a:defRPr sz="1600" baseline="0">
                <a:solidFill>
                  <a:schemeClr val="tx2"/>
                </a:solidFill>
              </a:defRPr>
            </a:lvl7pPr>
            <a:lvl8pPr>
              <a:buClrTx/>
              <a:defRPr sz="1600" baseline="0">
                <a:solidFill>
                  <a:schemeClr val="tx2"/>
                </a:solidFill>
              </a:defRPr>
            </a:lvl8pPr>
            <a:lvl9pPr>
              <a:buClrTx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18" hasCustomPrompt="1"/>
          </p:nvPr>
        </p:nvSpPr>
        <p:spPr bwMode="gray">
          <a:xfrm>
            <a:off x="8969729" y="3148861"/>
            <a:ext cx="2368296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bg1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bg1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bg1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bg1"/>
                </a:solidFill>
              </a:defRPr>
            </a:lvl4pPr>
            <a:lvl5pPr>
              <a:buClrTx/>
              <a:defRPr lang="en-US" sz="1600" baseline="0" dirty="0">
                <a:solidFill>
                  <a:schemeClr val="bg1"/>
                </a:solidFill>
              </a:defRPr>
            </a:lvl5pPr>
            <a:lvl6pPr>
              <a:buClrTx/>
              <a:defRPr sz="1600" baseline="0">
                <a:solidFill>
                  <a:schemeClr val="bg1"/>
                </a:solidFill>
              </a:defRPr>
            </a:lvl6pPr>
            <a:lvl7pPr>
              <a:buClrTx/>
              <a:defRPr sz="1600">
                <a:solidFill>
                  <a:schemeClr val="bg1"/>
                </a:solidFill>
              </a:defRPr>
            </a:lvl7pPr>
            <a:lvl8pPr>
              <a:buClrTx/>
              <a:defRPr sz="1600" baseline="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351462022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488289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</a:t>
            </a:r>
            <a:br>
              <a:rPr lang="en-US" dirty="0"/>
            </a:br>
            <a:r>
              <a:rPr lang="en-US" dirty="0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784" y="1765300"/>
            <a:ext cx="4882896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332229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4413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31836" y="530351"/>
            <a:ext cx="488289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</a:t>
            </a:r>
            <a:br>
              <a:rPr lang="en-US" dirty="0"/>
            </a:br>
            <a:r>
              <a:rPr lang="en-US" dirty="0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738938" y="1765300"/>
            <a:ext cx="4882896" cy="3977640"/>
          </a:xfrm>
        </p:spPr>
        <p:txBody>
          <a:bodyPr/>
          <a:lstStyle>
            <a:lvl1pPr>
              <a:buClrTx/>
              <a:defRPr cap="none" baseline="0">
                <a:solidFill>
                  <a:schemeClr val="tx2"/>
                </a:solidFill>
              </a:defRPr>
            </a:lvl1pPr>
            <a:lvl2pPr>
              <a:buClrTx/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  <a:lvl6pPr>
              <a:buClrTx/>
              <a:defRPr/>
            </a:lvl6pPr>
            <a:lvl7pPr>
              <a:buClrTx/>
              <a:defRPr/>
            </a:lvl7pPr>
            <a:lvl8pPr>
              <a:buClrTx/>
              <a:defRPr/>
            </a:lvl8pPr>
            <a:lvl9pPr>
              <a:buClrTx/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53302780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nfo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4BCE3BF-19DE-4243-9ED2-5FA21553C1FA}"/>
              </a:ext>
            </a:extLst>
          </p:cNvPr>
          <p:cNvGrpSpPr>
            <a:grpSpLocks noChangeAspect="1"/>
          </p:cNvGrpSpPr>
          <p:nvPr/>
        </p:nvGrpSpPr>
        <p:grpSpPr>
          <a:xfrm>
            <a:off x="10352582" y="6373316"/>
            <a:ext cx="1279180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4FAD22A7-02FD-47B7-B56B-F83C1B41E5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E5501FD2-6558-4D19-84E8-1DAF689AB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56C71C9D-3B12-4743-ABB3-3300A6D7C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7C9731B0-F7F6-409F-971D-705E83BF3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D982D7F3-8E67-4A4F-91EE-C8AA3BB44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37B8E154-46D5-4920-86B2-1F96A57FED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488289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 and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784" y="1767532"/>
            <a:ext cx="4882896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79328622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nfo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31836" y="530351"/>
            <a:ext cx="488289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 and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738938" y="1765300"/>
            <a:ext cx="4882896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-1" y="0"/>
            <a:ext cx="609441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/>
        </p:nvSpPr>
        <p:spPr>
          <a:xfrm>
            <a:off x="557784" y="6376946"/>
            <a:ext cx="352367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/>
        </p:nvSpPr>
        <p:spPr>
          <a:xfrm>
            <a:off x="859536" y="6376946"/>
            <a:ext cx="385921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78765977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high impac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1764792"/>
            <a:ext cx="4434840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 with image. Image should reflect the content of the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7784" y="3590382"/>
            <a:ext cx="4572000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8630453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| ImageRT |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703855" y="0"/>
            <a:ext cx="5484971" cy="6858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6609" y="320040"/>
            <a:ext cx="5486400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26609" y="1325880"/>
            <a:ext cx="5486400" cy="4846320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 dirty="0"/>
              <a:t>First-level</a:t>
            </a:r>
          </a:p>
          <a:p>
            <a:pPr lvl="1"/>
            <a:r>
              <a:rPr lang="en-US" dirty="0"/>
              <a:t>Second-level</a:t>
            </a:r>
          </a:p>
          <a:p>
            <a:pPr lvl="2"/>
            <a:r>
              <a:rPr lang="en-US" dirty="0"/>
              <a:t>Third-level</a:t>
            </a:r>
          </a:p>
        </p:txBody>
      </p:sp>
      <p:sp>
        <p:nvSpPr>
          <p:cNvPr id="6" name="Content Placeholder 8"/>
          <p:cNvSpPr txBox="1">
            <a:spLocks/>
          </p:cNvSpPr>
          <p:nvPr userDrawn="1"/>
        </p:nvSpPr>
        <p:spPr>
          <a:xfrm>
            <a:off x="11169232" y="6418626"/>
            <a:ext cx="734302" cy="228600"/>
          </a:xfrm>
          <a:prstGeom prst="rect">
            <a:avLst/>
          </a:prstGeom>
        </p:spPr>
        <p:txBody>
          <a:bodyPr lIns="112316" tIns="56158" rIns="112316" bIns="56158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200" smtClean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200" dirty="0">
              <a:solidFill>
                <a:srgbClr val="FFFFFF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26609" y="1051560"/>
            <a:ext cx="566780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4794236" y="6262778"/>
            <a:ext cx="1770829" cy="59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b="1" dirty="0">
              <a:solidFill>
                <a:srgbClr val="FFFFFF"/>
              </a:solidFill>
              <a:latin typeface="Open Sans Bold"/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447067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hig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213" y="2180108"/>
            <a:ext cx="7168896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213" y="4020921"/>
            <a:ext cx="4572000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47249396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high impact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-1" y="0"/>
            <a:ext cx="1218882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/>
        </p:nvSpPr>
        <p:spPr>
          <a:xfrm>
            <a:off x="557784" y="6376946"/>
            <a:ext cx="352367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/>
        </p:nvSpPr>
        <p:spPr>
          <a:xfrm>
            <a:off x="859536" y="6376946"/>
            <a:ext cx="385921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2582" y="6373316"/>
            <a:ext cx="1279180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213" y="2180108"/>
            <a:ext cx="7168896" cy="146304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213" y="4020921"/>
            <a:ext cx="4572000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40653013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32895" y="416157"/>
            <a:ext cx="4088928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Next step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970122" y="2110424"/>
            <a:ext cx="2505456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1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818888" y="2110424"/>
            <a:ext cx="2505456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2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7662672" y="2110424"/>
            <a:ext cx="2505456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3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</p:spTree>
    <p:extLst>
      <p:ext uri="{BB962C8B-B14F-4D97-AF65-F5344CB8AC3E}">
        <p14:creationId xmlns:p14="http://schemas.microsoft.com/office/powerpoint/2010/main" val="227771188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34800" y="416157"/>
            <a:ext cx="4088928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In closing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784" y="1767532"/>
            <a:ext cx="8586216" cy="397764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FontTx/>
              <a:buNone/>
              <a:defRPr baseline="0">
                <a:solidFill>
                  <a:schemeClr val="tx2"/>
                </a:solidFill>
              </a:defRPr>
            </a:lvl2pPr>
            <a:lvl3pPr marL="173038" indent="-173038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3pPr>
            <a:lvl4pPr marL="347663" indent="-174625">
              <a:buClrTx/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4pPr>
            <a:lvl5pPr marL="509588" indent="-161925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5pPr>
            <a:lvl6pPr marL="682625" indent="-173038">
              <a:buClrTx/>
              <a:buFont typeface="Arial" panose="020B0604020202020204" pitchFamily="34" charset="0"/>
              <a:buChar char="–"/>
              <a:defRPr/>
            </a:lvl6pPr>
            <a:lvl7pPr marL="857250" indent="-174625">
              <a:buClrTx/>
              <a:buFont typeface="Arial" panose="020B0604020202020204" pitchFamily="34" charset="0"/>
              <a:buChar char="•"/>
              <a:defRPr/>
            </a:lvl7pPr>
            <a:lvl8pPr marL="1030288" indent="-173038">
              <a:buClrTx/>
              <a:buFont typeface="Arial" panose="020B0604020202020204" pitchFamily="34" charset="0"/>
              <a:buChar char="–"/>
              <a:defRPr/>
            </a:lvl8pPr>
            <a:lvl9pPr marL="1203325" indent="-173038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07040053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5853474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-1" y="0"/>
            <a:ext cx="1218882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/>
        </p:nvSpPr>
        <p:spPr>
          <a:xfrm>
            <a:off x="557784" y="6376946"/>
            <a:ext cx="352367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/>
        </p:nvSpPr>
        <p:spPr>
          <a:xfrm>
            <a:off x="859536" y="6376946"/>
            <a:ext cx="385921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2582" y="6373316"/>
            <a:ext cx="1279180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9671015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835075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12939" y="2941078"/>
            <a:ext cx="4562947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5400" b="1" dirty="0">
                <a:solidFill>
                  <a:schemeClr val="accent2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84402992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AD57F1C3-026C-4E29-99D9-D207AB9AE8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r>
              <a:rPr lang="en-US" dirty="0"/>
              <a:t>BE SURE IMAGE IS </a:t>
            </a:r>
            <a:br>
              <a:rPr lang="en-US" dirty="0"/>
            </a:br>
            <a:r>
              <a:rPr lang="en-US" dirty="0"/>
              <a:t>DARK ENOUGH SO TYPE AND </a:t>
            </a:r>
            <a:br>
              <a:rPr lang="en-US" dirty="0"/>
            </a:br>
            <a:r>
              <a:rPr lang="en-US" dirty="0"/>
              <a:t>LOGO ARE READABLE</a:t>
            </a:r>
          </a:p>
          <a:p>
            <a:br>
              <a:rPr lang="en-US" dirty="0"/>
            </a:br>
            <a:r>
              <a:rPr lang="en-US" dirty="0"/>
              <a:t>Be sure to send image to </a:t>
            </a:r>
            <a:br>
              <a:rPr lang="en-US" dirty="0"/>
            </a:br>
            <a:r>
              <a:rPr lang="en-US" dirty="0"/>
              <a:t>back so logo sits on top of 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844952" y="1196075"/>
            <a:ext cx="3068680" cy="1444752"/>
          </a:xfrm>
        </p:spPr>
        <p:txBody>
          <a:bodyPr/>
          <a:lstStyle>
            <a:lvl1pPr algn="l">
              <a:lnSpc>
                <a:spcPct val="80000"/>
              </a:lnSpc>
              <a:spcBef>
                <a:spcPts val="0"/>
              </a:spcBef>
              <a:defRPr sz="5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osing slide</a:t>
            </a:r>
          </a:p>
        </p:txBody>
      </p:sp>
    </p:spTree>
    <p:extLst>
      <p:ext uri="{BB962C8B-B14F-4D97-AF65-F5344CB8AC3E}">
        <p14:creationId xmlns:p14="http://schemas.microsoft.com/office/powerpoint/2010/main" val="133736167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S logo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825581" y="3027447"/>
            <a:ext cx="6537663" cy="803106"/>
            <a:chOff x="2825581" y="3027447"/>
            <a:chExt cx="6537663" cy="803106"/>
          </a:xfrm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3520" y="3050215"/>
              <a:ext cx="3134808" cy="775163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0439" y="3027447"/>
              <a:ext cx="671671" cy="803106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9141" y="3027447"/>
              <a:ext cx="748256" cy="803106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5651" y="3050215"/>
              <a:ext cx="746186" cy="758604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5581" y="3027447"/>
              <a:ext cx="978011" cy="803106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1109" y="3657720"/>
              <a:ext cx="152135" cy="156275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/>
        </p:nvSpPr>
        <p:spPr>
          <a:xfrm>
            <a:off x="0" y="5779008"/>
            <a:ext cx="12188825" cy="10789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27891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 | ImageLFT |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484971" cy="6858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86475" y="320040"/>
            <a:ext cx="5656263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1" y="1325880"/>
            <a:ext cx="5646738" cy="4846320"/>
          </a:xfrm>
        </p:spPr>
        <p:txBody>
          <a:bodyPr/>
          <a:lstStyle>
            <a:lvl1pPr>
              <a:spcBef>
                <a:spcPts val="2211"/>
              </a:spcBef>
              <a:defRPr sz="1700" b="1">
                <a:solidFill>
                  <a:schemeClr val="tx2"/>
                </a:solidFill>
                <a:latin typeface="Open Sans Bold"/>
                <a:cs typeface="Open Sans Bold"/>
              </a:defRPr>
            </a:lvl1pPr>
            <a:lvl2pPr marL="0" indent="0">
              <a:spcBef>
                <a:spcPts val="1474"/>
              </a:spcBef>
              <a:buFontTx/>
              <a:buNone/>
              <a:defRPr sz="1700"/>
            </a:lvl2pPr>
            <a:lvl3pPr marL="184317" indent="-184317">
              <a:spcBef>
                <a:spcPts val="368"/>
              </a:spcBef>
              <a:buFont typeface="Arial"/>
              <a:buChar char="•"/>
              <a:defRPr sz="1700"/>
            </a:lvl3pPr>
            <a:lvl4pPr marL="367172" indent="-184317">
              <a:spcBef>
                <a:spcPts val="368"/>
              </a:spcBef>
              <a:buFont typeface="Lucida Grande"/>
              <a:buChar char="-"/>
              <a:defRPr sz="1700"/>
            </a:lvl4pPr>
            <a:lvl5pPr>
              <a:defRPr sz="17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  <a:p>
            <a:pPr lvl="2"/>
            <a:r>
              <a:rPr lang="en-US" dirty="0"/>
              <a:t>Second-level</a:t>
            </a:r>
          </a:p>
          <a:p>
            <a:pPr lvl="3"/>
            <a:r>
              <a:rPr lang="en-US" dirty="0"/>
              <a:t>Third-level</a:t>
            </a:r>
          </a:p>
        </p:txBody>
      </p:sp>
      <p:sp>
        <p:nvSpPr>
          <p:cNvPr id="6" name="Content Placeholder 8"/>
          <p:cNvSpPr txBox="1">
            <a:spLocks/>
          </p:cNvSpPr>
          <p:nvPr userDrawn="1"/>
        </p:nvSpPr>
        <p:spPr>
          <a:xfrm>
            <a:off x="457200" y="6418626"/>
            <a:ext cx="385921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FFFFFF"/>
                </a:solidFill>
              </a:rPr>
              <a:t>©2018 Aetna Inc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079696" y="1051560"/>
            <a:ext cx="566780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/>
        </p:nvSpPr>
        <p:spPr>
          <a:xfrm>
            <a:off x="5658793" y="6262778"/>
            <a:ext cx="1770829" cy="59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b="1" dirty="0">
              <a:solidFill>
                <a:srgbClr val="FFFFFF"/>
              </a:solidFill>
              <a:latin typeface="Open Sans Bold"/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4291449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S logo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0949C91-C34A-48C0-97AF-F55ED1D82DFF}"/>
              </a:ext>
            </a:extLst>
          </p:cNvPr>
          <p:cNvGrpSpPr>
            <a:grpSpLocks noChangeAspect="1"/>
          </p:cNvGrpSpPr>
          <p:nvPr/>
        </p:nvGrpSpPr>
        <p:grpSpPr>
          <a:xfrm>
            <a:off x="2825581" y="3027447"/>
            <a:ext cx="6537663" cy="803106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3090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 | ImageRT |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6703855" y="0"/>
            <a:ext cx="5484971" cy="6858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6609" y="320040"/>
            <a:ext cx="5486400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26609" y="1325880"/>
            <a:ext cx="5486400" cy="4846320"/>
          </a:xfrm>
        </p:spPr>
        <p:txBody>
          <a:bodyPr/>
          <a:lstStyle>
            <a:lvl1pPr>
              <a:spcBef>
                <a:spcPts val="2211"/>
              </a:spcBef>
              <a:defRPr sz="1700" b="1">
                <a:solidFill>
                  <a:schemeClr val="tx2"/>
                </a:solidFill>
                <a:latin typeface="Open Sans Bold"/>
                <a:cs typeface="Open Sans Bold"/>
              </a:defRPr>
            </a:lvl1pPr>
            <a:lvl2pPr marL="0" indent="0">
              <a:spcBef>
                <a:spcPts val="1474"/>
              </a:spcBef>
              <a:buFontTx/>
              <a:buNone/>
              <a:defRPr sz="1700"/>
            </a:lvl2pPr>
            <a:lvl3pPr marL="184317" indent="-184317">
              <a:spcBef>
                <a:spcPts val="368"/>
              </a:spcBef>
              <a:buFont typeface="Arial"/>
              <a:buChar char="•"/>
              <a:defRPr sz="1700"/>
            </a:lvl3pPr>
            <a:lvl4pPr marL="367172" indent="-184317">
              <a:spcBef>
                <a:spcPts val="368"/>
              </a:spcBef>
              <a:buFont typeface="Lucida Grande"/>
              <a:buChar char="-"/>
              <a:defRPr sz="1700"/>
            </a:lvl4pPr>
            <a:lvl5pPr>
              <a:defRPr sz="17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  <a:p>
            <a:pPr lvl="2"/>
            <a:r>
              <a:rPr lang="en-US" dirty="0"/>
              <a:t>Second-level</a:t>
            </a:r>
          </a:p>
          <a:p>
            <a:pPr lvl="3"/>
            <a:r>
              <a:rPr lang="en-US" dirty="0"/>
              <a:t>Third-level</a:t>
            </a:r>
          </a:p>
        </p:txBody>
      </p:sp>
      <p:sp>
        <p:nvSpPr>
          <p:cNvPr id="10" name="Content Placeholder 8"/>
          <p:cNvSpPr txBox="1">
            <a:spLocks/>
          </p:cNvSpPr>
          <p:nvPr userDrawn="1"/>
        </p:nvSpPr>
        <p:spPr>
          <a:xfrm>
            <a:off x="11169232" y="6418626"/>
            <a:ext cx="734302" cy="228600"/>
          </a:xfrm>
          <a:prstGeom prst="rect">
            <a:avLst/>
          </a:prstGeom>
        </p:spPr>
        <p:txBody>
          <a:bodyPr lIns="112316" tIns="56158" rIns="112316" bIns="56158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200" smtClean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200" dirty="0">
              <a:solidFill>
                <a:srgbClr val="FFFFFF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26609" y="1051560"/>
            <a:ext cx="566780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/>
        </p:nvSpPr>
        <p:spPr>
          <a:xfrm>
            <a:off x="4794236" y="6262778"/>
            <a:ext cx="1770829" cy="59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b="1" dirty="0">
              <a:solidFill>
                <a:srgbClr val="FFFFFF"/>
              </a:solidFill>
              <a:latin typeface="Open Sans Bold"/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1928243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 | Title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224" y="320040"/>
            <a:ext cx="9494848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23225" y="1330324"/>
            <a:ext cx="3918895" cy="4846320"/>
          </a:xfrm>
        </p:spPr>
        <p:txBody>
          <a:bodyPr/>
          <a:lstStyle>
            <a:lvl1pPr>
              <a:spcBef>
                <a:spcPts val="1474"/>
              </a:spcBef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 dirty="0"/>
              <a:t>First-level</a:t>
            </a:r>
          </a:p>
          <a:p>
            <a:pPr lvl="1"/>
            <a:r>
              <a:rPr lang="en-US" dirty="0"/>
              <a:t>Second-level</a:t>
            </a:r>
          </a:p>
          <a:p>
            <a:pPr lvl="2"/>
            <a:r>
              <a:rPr lang="en-US" dirty="0"/>
              <a:t>Third-level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26609" y="1051560"/>
            <a:ext cx="1133264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277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 | 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227" y="320040"/>
            <a:ext cx="9494847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23225" y="1330324"/>
            <a:ext cx="3920176" cy="4846320"/>
          </a:xfrm>
        </p:spPr>
        <p:txBody>
          <a:bodyPr/>
          <a:lstStyle>
            <a:lvl1pPr>
              <a:spcBef>
                <a:spcPts val="2211"/>
              </a:spcBef>
              <a:defRPr sz="1700" b="1">
                <a:solidFill>
                  <a:schemeClr val="tx2"/>
                </a:solidFill>
                <a:latin typeface="Open Sans Bold"/>
                <a:cs typeface="Open Sans Bold"/>
              </a:defRPr>
            </a:lvl1pPr>
            <a:lvl2pPr marL="0" indent="0">
              <a:spcBef>
                <a:spcPts val="1474"/>
              </a:spcBef>
              <a:buFontTx/>
              <a:buNone/>
              <a:defRPr sz="1700"/>
            </a:lvl2pPr>
            <a:lvl3pPr marL="184317" indent="-184317">
              <a:spcBef>
                <a:spcPts val="737"/>
              </a:spcBef>
              <a:buFont typeface="Arial"/>
              <a:buChar char="•"/>
              <a:defRPr sz="1700"/>
            </a:lvl3pPr>
            <a:lvl4pPr marL="367172" indent="-184317">
              <a:spcBef>
                <a:spcPts val="368"/>
              </a:spcBef>
              <a:buFont typeface="Lucida Grande"/>
              <a:buChar char="-"/>
              <a:defRPr sz="1700"/>
            </a:lvl4pPr>
            <a:lvl5pPr>
              <a:defRPr sz="17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  <a:p>
            <a:pPr lvl="2"/>
            <a:r>
              <a:rPr lang="en-US" dirty="0"/>
              <a:t>Second-level</a:t>
            </a:r>
          </a:p>
          <a:p>
            <a:pPr lvl="3"/>
            <a:r>
              <a:rPr lang="en-US" dirty="0"/>
              <a:t>Third-level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26609" y="1051560"/>
            <a:ext cx="1133264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0052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224" y="320040"/>
            <a:ext cx="9494848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26609" y="1051560"/>
            <a:ext cx="1133264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530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 Impact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" y="6325941"/>
            <a:ext cx="12188825" cy="53206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sz="1700" b="1" dirty="0">
              <a:solidFill>
                <a:srgbClr val="FFFFFF"/>
              </a:solidFill>
              <a:latin typeface="Open Sans Bold"/>
              <a:cs typeface="Open Sans Bold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224" y="320040"/>
            <a:ext cx="11314505" cy="731520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0" name="Content Placeholder 8"/>
          <p:cNvSpPr txBox="1">
            <a:spLocks/>
          </p:cNvSpPr>
          <p:nvPr userDrawn="1"/>
        </p:nvSpPr>
        <p:spPr>
          <a:xfrm>
            <a:off x="11169232" y="6418626"/>
            <a:ext cx="734302" cy="228600"/>
          </a:xfrm>
          <a:prstGeom prst="rect">
            <a:avLst/>
          </a:prstGeom>
        </p:spPr>
        <p:txBody>
          <a:bodyPr lIns="112316" tIns="56158" rIns="112316" bIns="56158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200" smtClean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200" dirty="0">
              <a:solidFill>
                <a:srgbClr val="FFFFFF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2" name="Content Placeholder 8"/>
          <p:cNvSpPr txBox="1">
            <a:spLocks/>
          </p:cNvSpPr>
          <p:nvPr userDrawn="1"/>
        </p:nvSpPr>
        <p:spPr>
          <a:xfrm>
            <a:off x="457200" y="6418626"/>
            <a:ext cx="385921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dirty="0">
                <a:solidFill>
                  <a:srgbClr val="FFFFFF"/>
                </a:solidFill>
              </a:rPr>
              <a:t>©201</a:t>
            </a:r>
            <a:r>
              <a:rPr lang="en-US" dirty="0">
                <a:solidFill>
                  <a:srgbClr val="FFFFFF"/>
                </a:solidFill>
              </a:rPr>
              <a:t>8</a:t>
            </a:r>
            <a:r>
              <a:rPr lang="tr-TR" dirty="0">
                <a:solidFill>
                  <a:srgbClr val="FFFFFF"/>
                </a:solidFill>
              </a:rPr>
              <a:t> Aetna Inc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26609" y="1051560"/>
            <a:ext cx="1133264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 userDrawn="1"/>
        </p:nvGrpSpPr>
        <p:grpSpPr>
          <a:xfrm>
            <a:off x="5784195" y="6441557"/>
            <a:ext cx="620436" cy="118036"/>
            <a:chOff x="5518839" y="6290820"/>
            <a:chExt cx="1249434" cy="316852"/>
          </a:xfrm>
          <a:solidFill>
            <a:schemeClr val="bg1"/>
          </a:solidFill>
        </p:grpSpPr>
        <p:sp>
          <p:nvSpPr>
            <p:cNvPr id="11" name="Freeform 5"/>
            <p:cNvSpPr>
              <a:spLocks noEditPoints="1"/>
            </p:cNvSpPr>
            <p:nvPr userDrawn="1"/>
          </p:nvSpPr>
          <p:spPr bwMode="auto">
            <a:xfrm>
              <a:off x="5518839" y="6290820"/>
              <a:ext cx="1167929" cy="316852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6699791" y="6340239"/>
              <a:ext cx="68482" cy="73152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87852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5861" y="0"/>
            <a:ext cx="3062965" cy="6858000"/>
          </a:xfrm>
          <a:prstGeom prst="rect">
            <a:avLst/>
          </a:prstGeom>
          <a:solidFill>
            <a:srgbClr val="7D3F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259" tIns="42129" rIns="84259" bIns="4212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224" y="320040"/>
            <a:ext cx="8447244" cy="731520"/>
          </a:xfrm>
        </p:spPr>
        <p:txBody>
          <a:bodyPr anchor="ctr"/>
          <a:lstStyle>
            <a:lvl1pPr>
              <a:defRPr sz="2900" b="0"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23223" y="1330324"/>
            <a:ext cx="8443315" cy="4846320"/>
          </a:xfrm>
        </p:spPr>
        <p:txBody>
          <a:bodyPr/>
          <a:lstStyle>
            <a:lvl1pPr>
              <a:spcBef>
                <a:spcPts val="1474"/>
              </a:spcBef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 dirty="0"/>
              <a:t>First-level</a:t>
            </a:r>
          </a:p>
          <a:p>
            <a:pPr lvl="1"/>
            <a:r>
              <a:rPr lang="en-US" dirty="0"/>
              <a:t>Second-level</a:t>
            </a:r>
          </a:p>
          <a:p>
            <a:pPr lvl="2"/>
            <a:r>
              <a:rPr lang="en-US" dirty="0"/>
              <a:t>Third-level</a:t>
            </a:r>
          </a:p>
        </p:txBody>
      </p:sp>
      <p:sp>
        <p:nvSpPr>
          <p:cNvPr id="8" name="Content Placeholder 8"/>
          <p:cNvSpPr txBox="1">
            <a:spLocks/>
          </p:cNvSpPr>
          <p:nvPr userDrawn="1"/>
        </p:nvSpPr>
        <p:spPr>
          <a:xfrm>
            <a:off x="11169232" y="6418626"/>
            <a:ext cx="734302" cy="228600"/>
          </a:xfrm>
          <a:prstGeom prst="rect">
            <a:avLst/>
          </a:prstGeom>
        </p:spPr>
        <p:txBody>
          <a:bodyPr lIns="112316" tIns="56158" rIns="112316" bIns="56158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200" smtClean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200" dirty="0">
              <a:solidFill>
                <a:srgbClr val="FFFFFF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26609" y="1051560"/>
            <a:ext cx="8434667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2247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-1" y="4114800"/>
            <a:ext cx="12188826" cy="274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2"/>
            <a:ext cx="12188825" cy="4350553"/>
          </a:xfrm>
          <a:solidFill>
            <a:schemeClr val="bg2"/>
          </a:solidFill>
        </p:spPr>
        <p:txBody>
          <a:bodyPr anchor="ctr"/>
          <a:lstStyle>
            <a:lvl1pPr algn="ctr">
              <a:defRPr sz="8800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701844" y="4548186"/>
            <a:ext cx="6794350" cy="1215588"/>
          </a:xfrm>
        </p:spPr>
        <p:txBody>
          <a:bodyPr anchor="b"/>
          <a:lstStyle>
            <a:lvl1pPr algn="ctr">
              <a:lnSpc>
                <a:spcPct val="80000"/>
              </a:lnSpc>
              <a:defRPr sz="5400" b="0" i="0" cap="none" baseline="0">
                <a:solidFill>
                  <a:srgbClr val="FFFFFF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02123" y="5821809"/>
            <a:ext cx="5193792" cy="335328"/>
          </a:xfrm>
        </p:spPr>
        <p:txBody>
          <a:bodyPr anchor="t">
            <a:normAutofit/>
          </a:bodyPr>
          <a:lstStyle>
            <a:lvl1pPr marL="0" indent="0" algn="ctr">
              <a:buNone/>
              <a:defRPr sz="1700" b="0" cap="none" spc="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20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1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2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3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4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25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46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6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72410" y="6173393"/>
            <a:ext cx="2362199" cy="431800"/>
          </a:xfrm>
        </p:spPr>
        <p:txBody>
          <a:bodyPr anchor="b"/>
          <a:lstStyle>
            <a:lvl1pPr>
              <a:defRPr sz="11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noProof="0" dirty="0"/>
              <a:t>Presenter Nam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389896" y="6173393"/>
            <a:ext cx="2362199" cy="431800"/>
          </a:xfrm>
        </p:spPr>
        <p:txBody>
          <a:bodyPr anchor="b"/>
          <a:lstStyle>
            <a:lvl1pPr algn="r">
              <a:defRPr sz="11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5477164" y="6292904"/>
            <a:ext cx="1234501" cy="234860"/>
            <a:chOff x="5518839" y="6290820"/>
            <a:chExt cx="1249434" cy="316852"/>
          </a:xfrm>
          <a:solidFill>
            <a:schemeClr val="bg1"/>
          </a:solidFill>
        </p:grpSpPr>
        <p:sp>
          <p:nvSpPr>
            <p:cNvPr id="13" name="Freeform 5"/>
            <p:cNvSpPr>
              <a:spLocks noEditPoints="1"/>
            </p:cNvSpPr>
            <p:nvPr userDrawn="1"/>
          </p:nvSpPr>
          <p:spPr bwMode="auto">
            <a:xfrm>
              <a:off x="5518839" y="6290820"/>
              <a:ext cx="1167929" cy="316852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6699791" y="6340239"/>
              <a:ext cx="68482" cy="73152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4328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 Right |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5861" y="0"/>
            <a:ext cx="3062965" cy="6858000"/>
          </a:xfrm>
          <a:prstGeom prst="rect">
            <a:avLst/>
          </a:prstGeom>
          <a:solidFill>
            <a:srgbClr val="7D3F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259" tIns="42129" rIns="84259" bIns="4212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224" y="320040"/>
            <a:ext cx="8447244" cy="731520"/>
          </a:xfrm>
        </p:spPr>
        <p:txBody>
          <a:bodyPr anchor="ctr"/>
          <a:lstStyle>
            <a:lvl1pPr>
              <a:defRPr sz="2900" b="0"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26610" y="1330324"/>
            <a:ext cx="8443071" cy="4846320"/>
          </a:xfrm>
        </p:spPr>
        <p:txBody>
          <a:bodyPr/>
          <a:lstStyle>
            <a:lvl1pPr>
              <a:spcBef>
                <a:spcPts val="2211"/>
              </a:spcBef>
              <a:defRPr sz="1700" b="1">
                <a:solidFill>
                  <a:schemeClr val="tx2"/>
                </a:solidFill>
                <a:latin typeface="Open Sans Bold"/>
                <a:cs typeface="Open Sans Bold"/>
              </a:defRPr>
            </a:lvl1pPr>
            <a:lvl2pPr marL="0" indent="0">
              <a:spcBef>
                <a:spcPts val="1474"/>
              </a:spcBef>
              <a:buFontTx/>
              <a:buNone/>
              <a:defRPr sz="1700"/>
            </a:lvl2pPr>
            <a:lvl3pPr marL="184317" indent="-184317">
              <a:spcBef>
                <a:spcPts val="737"/>
              </a:spcBef>
              <a:buFont typeface="Arial"/>
              <a:buChar char="•"/>
              <a:defRPr sz="1700"/>
            </a:lvl3pPr>
            <a:lvl4pPr marL="367172" indent="-184317">
              <a:spcBef>
                <a:spcPts val="368"/>
              </a:spcBef>
              <a:buFont typeface="Lucida Grande"/>
              <a:buChar char="-"/>
              <a:defRPr sz="1700"/>
            </a:lvl4pPr>
            <a:lvl5pPr>
              <a:defRPr sz="17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 </a:t>
            </a:r>
          </a:p>
          <a:p>
            <a:pPr lvl="2"/>
            <a:r>
              <a:rPr lang="en-US" dirty="0"/>
              <a:t>Second-level</a:t>
            </a:r>
          </a:p>
          <a:p>
            <a:pPr lvl="3"/>
            <a:r>
              <a:rPr lang="en-US" dirty="0"/>
              <a:t>Third-level</a:t>
            </a:r>
          </a:p>
        </p:txBody>
      </p:sp>
      <p:sp>
        <p:nvSpPr>
          <p:cNvPr id="10" name="Content Placeholder 8"/>
          <p:cNvSpPr txBox="1">
            <a:spLocks/>
          </p:cNvSpPr>
          <p:nvPr userDrawn="1"/>
        </p:nvSpPr>
        <p:spPr>
          <a:xfrm>
            <a:off x="11169232" y="6418626"/>
            <a:ext cx="734302" cy="228600"/>
          </a:xfrm>
          <a:prstGeom prst="rect">
            <a:avLst/>
          </a:prstGeom>
        </p:spPr>
        <p:txBody>
          <a:bodyPr lIns="112316" tIns="56158" rIns="112316" bIns="56158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200" smtClean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200" dirty="0">
              <a:solidFill>
                <a:srgbClr val="FFFFFF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26609" y="1051560"/>
            <a:ext cx="8434667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0355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6409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5208999" y="6262778"/>
            <a:ext cx="1770829" cy="59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b="1" dirty="0">
              <a:solidFill>
                <a:srgbClr val="FFFFFF"/>
              </a:solidFill>
              <a:latin typeface="Open Sans Bold"/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1989169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Quot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794236" y="6262778"/>
            <a:ext cx="1770829" cy="59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b="1" dirty="0">
              <a:solidFill>
                <a:srgbClr val="FFFFFF"/>
              </a:solidFill>
              <a:latin typeface="Open Sans Bold"/>
              <a:cs typeface="Open Sans Bold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266089" y="0"/>
            <a:ext cx="7922736" cy="6858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47677" y="455614"/>
            <a:ext cx="3192342" cy="5932487"/>
          </a:xfrm>
        </p:spPr>
        <p:txBody>
          <a:bodyPr anchor="ctr"/>
          <a:lstStyle>
            <a:lvl1pPr algn="ctr">
              <a:lnSpc>
                <a:spcPct val="100000"/>
              </a:lnSpc>
              <a:defRPr sz="2500" b="0">
                <a:solidFill>
                  <a:schemeClr val="accent2"/>
                </a:solidFill>
                <a:latin typeface="Domaine Display Bold" panose="020A0803080505060203" pitchFamily="18" charset="0"/>
                <a:cs typeface="Domaine Display Bold" panose="020A0803080505060203" pitchFamily="18" charset="0"/>
              </a:defRPr>
            </a:lvl1pPr>
            <a:lvl2pPr marL="0" indent="0" algn="ctr">
              <a:lnSpc>
                <a:spcPts val="3686"/>
              </a:lnSpc>
              <a:spcBef>
                <a:spcPts val="0"/>
              </a:spcBef>
              <a:buFontTx/>
              <a:buNone/>
              <a:defRPr sz="2500">
                <a:solidFill>
                  <a:schemeClr val="accent2"/>
                </a:solidFill>
              </a:defRPr>
            </a:lvl2pPr>
            <a:lvl3pPr marL="7315" indent="0" algn="ctr">
              <a:lnSpc>
                <a:spcPts val="368"/>
              </a:lnSpc>
              <a:spcBef>
                <a:spcPts val="553"/>
              </a:spcBef>
              <a:buNone/>
              <a:tabLst>
                <a:tab pos="1107366" algn="l"/>
              </a:tabLst>
              <a:defRPr sz="1300">
                <a:solidFill>
                  <a:schemeClr val="accent2"/>
                </a:solidFill>
              </a:defRPr>
            </a:lvl3pPr>
            <a:lvl4pPr marL="7315" indent="0" algn="ctr">
              <a:lnSpc>
                <a:spcPct val="100000"/>
              </a:lnSpc>
              <a:spcBef>
                <a:spcPts val="276"/>
              </a:spcBef>
              <a:buNone/>
              <a:tabLst>
                <a:tab pos="1107366" algn="l"/>
              </a:tabLst>
              <a:defRPr sz="1300">
                <a:solidFill>
                  <a:schemeClr val="accent2"/>
                </a:solidFill>
              </a:defRPr>
            </a:lvl4pPr>
          </a:lstStyle>
          <a:p>
            <a:pPr lvl="0"/>
            <a:r>
              <a:rPr lang="en-US" dirty="0"/>
              <a:t>Quote text</a:t>
            </a:r>
          </a:p>
          <a:p>
            <a:pPr lvl="1"/>
            <a:r>
              <a:rPr lang="en-US" dirty="0"/>
              <a:t>—</a:t>
            </a:r>
          </a:p>
          <a:p>
            <a:pPr lvl="2"/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Attribution first line</a:t>
            </a:r>
          </a:p>
          <a:p>
            <a:pPr lvl="3"/>
            <a:r>
              <a:rPr lang="en-US" dirty="0"/>
              <a:t>Attribution continued</a:t>
            </a:r>
          </a:p>
        </p:txBody>
      </p:sp>
      <p:sp>
        <p:nvSpPr>
          <p:cNvPr id="4" name="Content Placeholder 8"/>
          <p:cNvSpPr txBox="1">
            <a:spLocks/>
          </p:cNvSpPr>
          <p:nvPr userDrawn="1"/>
        </p:nvSpPr>
        <p:spPr>
          <a:xfrm>
            <a:off x="11169232" y="6418626"/>
            <a:ext cx="734302" cy="228600"/>
          </a:xfrm>
          <a:prstGeom prst="rect">
            <a:avLst/>
          </a:prstGeom>
        </p:spPr>
        <p:txBody>
          <a:bodyPr lIns="112316" tIns="56158" rIns="112316" bIns="56158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200" smtClean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200" dirty="0">
              <a:solidFill>
                <a:srgbClr val="FFFFFF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2987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Quote B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266089" y="0"/>
            <a:ext cx="7922736" cy="6858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47676" y="455613"/>
            <a:ext cx="3200400" cy="5932487"/>
          </a:xfrm>
        </p:spPr>
        <p:txBody>
          <a:bodyPr anchor="ctr" anchorCtr="1"/>
          <a:lstStyle>
            <a:lvl1pPr marL="7315" indent="-7315" algn="ctr">
              <a:spcBef>
                <a:spcPts val="0"/>
              </a:spcBef>
              <a:spcAft>
                <a:spcPts val="0"/>
              </a:spcAft>
              <a:tabLst/>
              <a:defRPr sz="2500" b="0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  <a:lvl2pPr marL="0" indent="0" algn="ctr">
              <a:lnSpc>
                <a:spcPts val="3686"/>
              </a:lnSpc>
              <a:spcBef>
                <a:spcPts val="0"/>
              </a:spcBef>
              <a:buFontTx/>
              <a:buNone/>
              <a:tabLst/>
              <a:defRPr sz="2500">
                <a:solidFill>
                  <a:schemeClr val="bg1"/>
                </a:solidFill>
              </a:defRPr>
            </a:lvl2pPr>
            <a:lvl3pPr marL="0" indent="0" algn="ctr">
              <a:lnSpc>
                <a:spcPts val="368"/>
              </a:lnSpc>
              <a:spcBef>
                <a:spcPts val="553"/>
              </a:spcBef>
              <a:buFontTx/>
              <a:buNone/>
              <a:tabLst/>
              <a:defRPr sz="1300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tabLst/>
              <a:defRPr sz="1300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tabLst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 text</a:t>
            </a:r>
          </a:p>
          <a:p>
            <a:pPr lvl="1"/>
            <a:r>
              <a:rPr lang="en-US" dirty="0"/>
              <a:t>—</a:t>
            </a:r>
          </a:p>
          <a:p>
            <a:pPr lvl="2"/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Attribution first line</a:t>
            </a:r>
          </a:p>
          <a:p>
            <a:pPr lvl="3"/>
            <a:r>
              <a:rPr lang="en-US" dirty="0"/>
              <a:t>Attribution continued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388101"/>
            <a:ext cx="4035424" cy="4699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sz="1700" dirty="0">
              <a:solidFill>
                <a:srgbClr val="FFFFFF"/>
              </a:solidFill>
            </a:endParaRPr>
          </a:p>
        </p:txBody>
      </p:sp>
      <p:sp>
        <p:nvSpPr>
          <p:cNvPr id="6" name="Content Placeholder 8"/>
          <p:cNvSpPr txBox="1">
            <a:spLocks/>
          </p:cNvSpPr>
          <p:nvPr userDrawn="1"/>
        </p:nvSpPr>
        <p:spPr>
          <a:xfrm>
            <a:off x="457200" y="6418626"/>
            <a:ext cx="385921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dirty="0">
                <a:solidFill>
                  <a:srgbClr val="FFFFFF"/>
                </a:solidFill>
              </a:rPr>
              <a:t>©201</a:t>
            </a:r>
            <a:r>
              <a:rPr lang="en-US" dirty="0">
                <a:solidFill>
                  <a:srgbClr val="FFFFFF"/>
                </a:solidFill>
              </a:rPr>
              <a:t>8</a:t>
            </a:r>
            <a:r>
              <a:rPr lang="tr-TR" dirty="0">
                <a:solidFill>
                  <a:srgbClr val="FFFFFF"/>
                </a:solidFill>
              </a:rPr>
              <a:t> Aetna Inc.</a:t>
            </a:r>
          </a:p>
        </p:txBody>
      </p:sp>
      <p:sp>
        <p:nvSpPr>
          <p:cNvPr id="8" name="Content Placeholder 8"/>
          <p:cNvSpPr txBox="1">
            <a:spLocks/>
          </p:cNvSpPr>
          <p:nvPr userDrawn="1"/>
        </p:nvSpPr>
        <p:spPr>
          <a:xfrm>
            <a:off x="11169232" y="6418626"/>
            <a:ext cx="734302" cy="228600"/>
          </a:xfrm>
          <a:prstGeom prst="rect">
            <a:avLst/>
          </a:prstGeom>
        </p:spPr>
        <p:txBody>
          <a:bodyPr lIns="112316" tIns="56158" rIns="112316" bIns="56158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200" smtClean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200" dirty="0">
              <a:solidFill>
                <a:srgbClr val="FFFFFF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9793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" y="6260355"/>
            <a:ext cx="12188824" cy="597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sz="1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4058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7676" y="455613"/>
            <a:ext cx="11295063" cy="5911850"/>
          </a:xfrm>
        </p:spPr>
        <p:txBody>
          <a:bodyPr anchor="ctr"/>
          <a:lstStyle>
            <a:lvl1pPr algn="ctr">
              <a:lnSpc>
                <a:spcPct val="80000"/>
              </a:lnSpc>
              <a:defRPr sz="8800" b="0">
                <a:solidFill>
                  <a:schemeClr val="bg1"/>
                </a:solidFill>
                <a:latin typeface="Domaine Display Bold"/>
                <a:cs typeface="Domaine Display Bold"/>
              </a:defRPr>
            </a:lvl1pPr>
          </a:lstStyle>
          <a:p>
            <a:r>
              <a:rPr lang="en-US" dirty="0"/>
              <a:t>Closing </a:t>
            </a:r>
            <a:br>
              <a:rPr lang="en-US" dirty="0"/>
            </a:br>
            <a:r>
              <a:rPr lang="en-US" dirty="0"/>
              <a:t>slide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5477164" y="6292904"/>
            <a:ext cx="1234501" cy="234860"/>
            <a:chOff x="5518839" y="6290820"/>
            <a:chExt cx="1249434" cy="316852"/>
          </a:xfrm>
          <a:solidFill>
            <a:schemeClr val="bg1"/>
          </a:solidFill>
        </p:grpSpPr>
        <p:sp>
          <p:nvSpPr>
            <p:cNvPr id="6" name="Freeform 5"/>
            <p:cNvSpPr>
              <a:spLocks noEditPoints="1"/>
            </p:cNvSpPr>
            <p:nvPr userDrawn="1"/>
          </p:nvSpPr>
          <p:spPr bwMode="auto">
            <a:xfrm>
              <a:off x="5518839" y="6290820"/>
              <a:ext cx="1167929" cy="316852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6699791" y="6340239"/>
              <a:ext cx="68482" cy="73152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9843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Text |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7676" y="388063"/>
            <a:ext cx="9454896" cy="731611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600200"/>
            <a:ext cx="9450388" cy="4636008"/>
          </a:xfrm>
        </p:spPr>
        <p:txBody>
          <a:bodyPr/>
          <a:lstStyle>
            <a:lvl1pPr>
              <a:defRPr sz="1798"/>
            </a:lvl1pPr>
            <a:lvl2pPr>
              <a:defRPr sz="1798"/>
            </a:lvl2pPr>
            <a:lvl3pPr>
              <a:defRPr sz="1798"/>
            </a:lvl3pPr>
            <a:lvl4pPr>
              <a:defRPr sz="1798"/>
            </a:lvl4pPr>
            <a:lvl5pPr>
              <a:defRPr sz="1798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1207" y="1222520"/>
            <a:ext cx="11291541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0519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3928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 | Prefer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1" y="4114800"/>
            <a:ext cx="12188826" cy="274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2"/>
            <a:ext cx="12188825" cy="4350553"/>
          </a:xfrm>
          <a:solidFill>
            <a:schemeClr val="bg2"/>
          </a:solidFill>
        </p:spPr>
        <p:txBody>
          <a:bodyPr anchor="ctr"/>
          <a:lstStyle>
            <a:lvl1pPr algn="ctr">
              <a:lnSpc>
                <a:spcPct val="80000"/>
              </a:lnSpc>
              <a:defRPr sz="8800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  <a:br>
              <a:rPr lang="en-US" dirty="0"/>
            </a:br>
            <a:r>
              <a:rPr lang="en-US" dirty="0"/>
              <a:t>with Aetna logo 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701844" y="4548186"/>
            <a:ext cx="6794350" cy="1215588"/>
          </a:xfrm>
        </p:spPr>
        <p:txBody>
          <a:bodyPr anchor="b"/>
          <a:lstStyle>
            <a:lvl1pPr algn="ctr">
              <a:lnSpc>
                <a:spcPct val="80000"/>
              </a:lnSpc>
              <a:defRPr sz="5400" b="0" i="0" cap="none" baseline="0">
                <a:solidFill>
                  <a:srgbClr val="FFFFFF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72410" y="6173393"/>
            <a:ext cx="2362199" cy="431800"/>
          </a:xfrm>
        </p:spPr>
        <p:txBody>
          <a:bodyPr anchor="b"/>
          <a:lstStyle>
            <a:lvl1pPr>
              <a:defRPr sz="11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noProof="0" dirty="0"/>
              <a:t>Presenter Nam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389896" y="6173393"/>
            <a:ext cx="2362199" cy="431800"/>
          </a:xfrm>
        </p:spPr>
        <p:txBody>
          <a:bodyPr anchor="b"/>
          <a:lstStyle>
            <a:lvl1pPr algn="r">
              <a:defRPr sz="11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02123" y="5821809"/>
            <a:ext cx="5193792" cy="335328"/>
          </a:xfrm>
        </p:spPr>
        <p:txBody>
          <a:bodyPr anchor="t">
            <a:normAutofit/>
          </a:bodyPr>
          <a:lstStyle>
            <a:lvl1pPr marL="0" indent="0" algn="ctr">
              <a:buNone/>
              <a:defRPr sz="1700" b="0" cap="none" spc="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20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1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2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3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4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25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46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6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733158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-1" y="4114800"/>
            <a:ext cx="12188826" cy="274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2"/>
            <a:ext cx="12188825" cy="4350553"/>
          </a:xfrm>
          <a:solidFill>
            <a:schemeClr val="bg2"/>
          </a:solidFill>
        </p:spPr>
        <p:txBody>
          <a:bodyPr anchor="ctr"/>
          <a:lstStyle>
            <a:lvl1pPr algn="ctr">
              <a:defRPr sz="8800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701844" y="4548186"/>
            <a:ext cx="6794350" cy="1215588"/>
          </a:xfrm>
        </p:spPr>
        <p:txBody>
          <a:bodyPr anchor="b"/>
          <a:lstStyle>
            <a:lvl1pPr algn="ctr">
              <a:lnSpc>
                <a:spcPct val="80000"/>
              </a:lnSpc>
              <a:defRPr sz="5400" b="0" i="0" cap="none" baseline="0">
                <a:solidFill>
                  <a:srgbClr val="FFFFFF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02123" y="5821809"/>
            <a:ext cx="5193792" cy="335328"/>
          </a:xfrm>
        </p:spPr>
        <p:txBody>
          <a:bodyPr anchor="t">
            <a:normAutofit/>
          </a:bodyPr>
          <a:lstStyle>
            <a:lvl1pPr marL="0" indent="0" algn="ctr">
              <a:buNone/>
              <a:defRPr sz="1700" b="0" cap="none" spc="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20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1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2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3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4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25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46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6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72410" y="6173393"/>
            <a:ext cx="2362199" cy="431800"/>
          </a:xfrm>
        </p:spPr>
        <p:txBody>
          <a:bodyPr anchor="b"/>
          <a:lstStyle>
            <a:lvl1pPr>
              <a:defRPr sz="11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noProof="0" dirty="0"/>
              <a:t>Presenter Nam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389896" y="6173393"/>
            <a:ext cx="2362199" cy="431800"/>
          </a:xfrm>
        </p:spPr>
        <p:txBody>
          <a:bodyPr anchor="b"/>
          <a:lstStyle>
            <a:lvl1pPr algn="r">
              <a:defRPr sz="11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5477164" y="6292904"/>
            <a:ext cx="1234501" cy="234860"/>
            <a:chOff x="5518839" y="6290820"/>
            <a:chExt cx="1249434" cy="316852"/>
          </a:xfrm>
          <a:solidFill>
            <a:schemeClr val="bg1"/>
          </a:solidFill>
        </p:grpSpPr>
        <p:sp>
          <p:nvSpPr>
            <p:cNvPr id="13" name="Freeform 5"/>
            <p:cNvSpPr>
              <a:spLocks noEditPoints="1"/>
            </p:cNvSpPr>
            <p:nvPr userDrawn="1"/>
          </p:nvSpPr>
          <p:spPr bwMode="auto">
            <a:xfrm>
              <a:off x="5518839" y="6290820"/>
              <a:ext cx="1167929" cy="316852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6699791" y="6340239"/>
              <a:ext cx="68482" cy="73152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46352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" y="6116426"/>
            <a:ext cx="12188825" cy="741575"/>
          </a:xfrm>
          <a:prstGeom prst="rect">
            <a:avLst/>
          </a:prstGeom>
          <a:solidFill>
            <a:srgbClr val="7D3F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1205" y="537511"/>
            <a:ext cx="11320273" cy="5199903"/>
          </a:xfrm>
        </p:spPr>
        <p:txBody>
          <a:bodyPr anchor="ctr"/>
          <a:lstStyle>
            <a:lvl1pPr algn="ctr">
              <a:lnSpc>
                <a:spcPct val="80000"/>
              </a:lnSpc>
              <a:defRPr sz="8800" b="0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  <a:lvl2pPr marL="0" indent="0" algn="ctr">
              <a:spcBef>
                <a:spcPts val="2211"/>
              </a:spcBef>
              <a:buFontTx/>
              <a:buNone/>
              <a:defRPr sz="1700" b="0">
                <a:solidFill>
                  <a:schemeClr val="bg1"/>
                </a:solidFill>
                <a:latin typeface="Open Sans" charset="0"/>
                <a:ea typeface="Open Sans" charset="0"/>
                <a:cs typeface="Open Sans" charset="0"/>
              </a:defRPr>
            </a:lvl2pPr>
          </a:lstStyle>
          <a:p>
            <a:pPr lvl="0"/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  <a:p>
            <a:pPr lvl="1"/>
            <a:r>
              <a:rPr lang="en-US" dirty="0"/>
              <a:t>Sub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72410" y="6173393"/>
            <a:ext cx="2362199" cy="431800"/>
          </a:xfrm>
        </p:spPr>
        <p:txBody>
          <a:bodyPr anchor="b"/>
          <a:lstStyle>
            <a:lvl1pPr>
              <a:defRPr sz="11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noProof="0" dirty="0"/>
              <a:t>Presenter Nam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389896" y="6173393"/>
            <a:ext cx="2362199" cy="431800"/>
          </a:xfrm>
        </p:spPr>
        <p:txBody>
          <a:bodyPr anchor="b"/>
          <a:lstStyle>
            <a:lvl1pPr algn="r">
              <a:defRPr sz="11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5477164" y="6292904"/>
            <a:ext cx="1234501" cy="234860"/>
            <a:chOff x="5518839" y="6290820"/>
            <a:chExt cx="1249434" cy="316852"/>
          </a:xfrm>
          <a:solidFill>
            <a:schemeClr val="bg1"/>
          </a:solidFill>
        </p:grpSpPr>
        <p:sp>
          <p:nvSpPr>
            <p:cNvPr id="11" name="Freeform 5"/>
            <p:cNvSpPr>
              <a:spLocks noEditPoints="1"/>
            </p:cNvSpPr>
            <p:nvPr userDrawn="1"/>
          </p:nvSpPr>
          <p:spPr bwMode="auto">
            <a:xfrm>
              <a:off x="5518839" y="6290820"/>
              <a:ext cx="1167929" cy="316852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6699791" y="6340239"/>
              <a:ext cx="68482" cy="73152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227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" y="6116426"/>
            <a:ext cx="12188825" cy="741575"/>
          </a:xfrm>
          <a:prstGeom prst="rect">
            <a:avLst/>
          </a:prstGeom>
          <a:solidFill>
            <a:srgbClr val="7D3F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1205" y="537511"/>
            <a:ext cx="11320273" cy="5199903"/>
          </a:xfrm>
        </p:spPr>
        <p:txBody>
          <a:bodyPr anchor="ctr"/>
          <a:lstStyle>
            <a:lvl1pPr algn="ctr">
              <a:lnSpc>
                <a:spcPct val="80000"/>
              </a:lnSpc>
              <a:defRPr sz="8800" b="0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  <a:lvl2pPr marL="0" indent="0" algn="ctr">
              <a:spcBef>
                <a:spcPts val="2211"/>
              </a:spcBef>
              <a:buFontTx/>
              <a:buNone/>
              <a:defRPr sz="1700" b="0">
                <a:solidFill>
                  <a:schemeClr val="bg1"/>
                </a:solidFill>
                <a:latin typeface="Open Sans" charset="0"/>
                <a:ea typeface="Open Sans" charset="0"/>
                <a:cs typeface="Open Sans" charset="0"/>
              </a:defRPr>
            </a:lvl2pPr>
          </a:lstStyle>
          <a:p>
            <a:pPr lvl="0"/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  <a:p>
            <a:pPr lvl="1"/>
            <a:r>
              <a:rPr lang="en-US" dirty="0"/>
              <a:t>Sub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72410" y="6173393"/>
            <a:ext cx="2362199" cy="431800"/>
          </a:xfrm>
        </p:spPr>
        <p:txBody>
          <a:bodyPr anchor="b"/>
          <a:lstStyle>
            <a:lvl1pPr>
              <a:defRPr sz="11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noProof="0" dirty="0"/>
              <a:t>Presenter Nam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389896" y="6173393"/>
            <a:ext cx="2362199" cy="431800"/>
          </a:xfrm>
        </p:spPr>
        <p:txBody>
          <a:bodyPr anchor="b"/>
          <a:lstStyle>
            <a:lvl1pPr algn="r">
              <a:defRPr sz="11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5477164" y="6292904"/>
            <a:ext cx="1234501" cy="234860"/>
            <a:chOff x="5518839" y="6290820"/>
            <a:chExt cx="1249434" cy="316852"/>
          </a:xfrm>
          <a:solidFill>
            <a:schemeClr val="bg1"/>
          </a:solidFill>
        </p:grpSpPr>
        <p:sp>
          <p:nvSpPr>
            <p:cNvPr id="11" name="Freeform 5"/>
            <p:cNvSpPr>
              <a:spLocks noEditPoints="1"/>
            </p:cNvSpPr>
            <p:nvPr userDrawn="1"/>
          </p:nvSpPr>
          <p:spPr bwMode="auto">
            <a:xfrm>
              <a:off x="5518839" y="6290820"/>
              <a:ext cx="1167929" cy="316852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6699791" y="6340239"/>
              <a:ext cx="68482" cy="73152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0773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4114800"/>
            <a:ext cx="12188826" cy="274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72410" y="6173393"/>
            <a:ext cx="2362199" cy="431800"/>
          </a:xfrm>
        </p:spPr>
        <p:txBody>
          <a:bodyPr anchor="b"/>
          <a:lstStyle>
            <a:lvl1pPr>
              <a:defRPr sz="11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noProof="0" dirty="0"/>
              <a:t>Presenter Nam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389896" y="6173393"/>
            <a:ext cx="2362199" cy="431800"/>
          </a:xfrm>
        </p:spPr>
        <p:txBody>
          <a:bodyPr anchor="b"/>
          <a:lstStyle>
            <a:lvl1pPr algn="r">
              <a:defRPr sz="11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8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679164" y="4384650"/>
            <a:ext cx="6794350" cy="1280160"/>
          </a:xfrm>
        </p:spPr>
        <p:txBody>
          <a:bodyPr anchor="b"/>
          <a:lstStyle>
            <a:lvl1pPr algn="ctr">
              <a:lnSpc>
                <a:spcPct val="90000"/>
              </a:lnSpc>
              <a:defRPr sz="5400" b="0" i="0" cap="none" baseline="0">
                <a:solidFill>
                  <a:srgbClr val="FFFFFF"/>
                </a:solidFill>
                <a:latin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2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487710" y="5639521"/>
            <a:ext cx="5168758" cy="371869"/>
          </a:xfrm>
        </p:spPr>
        <p:txBody>
          <a:bodyPr anchor="t">
            <a:normAutofit/>
          </a:bodyPr>
          <a:lstStyle>
            <a:lvl1pPr marL="0" indent="0" algn="ctr">
              <a:buNone/>
              <a:defRPr sz="1700" b="0" cap="none" spc="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20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1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2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3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4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25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46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6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3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6236130" y="6319890"/>
            <a:ext cx="1270752" cy="287783"/>
          </a:xfrm>
          <a:solidFill>
            <a:schemeClr val="bg2"/>
          </a:solidFill>
        </p:spPr>
        <p:txBody>
          <a:bodyPr anchor="ctr"/>
          <a:lstStyle>
            <a:lvl1pPr algn="ctr">
              <a:defRPr sz="900" b="1" baseline="0">
                <a:solidFill>
                  <a:schemeClr val="tx1"/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PARTNER LOGO</a:t>
            </a:r>
          </a:p>
        </p:txBody>
      </p:sp>
      <p:grpSp>
        <p:nvGrpSpPr>
          <p:cNvPr id="31" name="Group 30"/>
          <p:cNvGrpSpPr/>
          <p:nvPr userDrawn="1"/>
        </p:nvGrpSpPr>
        <p:grpSpPr>
          <a:xfrm>
            <a:off x="4796444" y="6325914"/>
            <a:ext cx="1234501" cy="234860"/>
            <a:chOff x="5518839" y="6290820"/>
            <a:chExt cx="1249434" cy="316852"/>
          </a:xfrm>
          <a:solidFill>
            <a:schemeClr val="bg1"/>
          </a:solidFill>
        </p:grpSpPr>
        <p:sp>
          <p:nvSpPr>
            <p:cNvPr id="32" name="Freeform 31"/>
            <p:cNvSpPr>
              <a:spLocks noEditPoints="1"/>
            </p:cNvSpPr>
            <p:nvPr userDrawn="1"/>
          </p:nvSpPr>
          <p:spPr bwMode="auto">
            <a:xfrm>
              <a:off x="5518839" y="6290820"/>
              <a:ext cx="1167929" cy="316852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32"/>
            <p:cNvSpPr>
              <a:spLocks noEditPoints="1"/>
            </p:cNvSpPr>
            <p:nvPr userDrawn="1"/>
          </p:nvSpPr>
          <p:spPr bwMode="auto">
            <a:xfrm>
              <a:off x="6699791" y="6340239"/>
              <a:ext cx="68482" cy="73152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34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1"/>
            <a:ext cx="12188825" cy="4348066"/>
          </a:xfrm>
          <a:solidFill>
            <a:schemeClr val="bg2"/>
          </a:solidFill>
        </p:spPr>
        <p:txBody>
          <a:bodyPr anchor="ctr"/>
          <a:lstStyle>
            <a:lvl1pPr algn="ctr">
              <a:defRPr sz="8800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3322517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4114800"/>
            <a:ext cx="12188826" cy="274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72410" y="6173393"/>
            <a:ext cx="2362199" cy="431800"/>
          </a:xfrm>
        </p:spPr>
        <p:txBody>
          <a:bodyPr anchor="b"/>
          <a:lstStyle>
            <a:lvl1pPr>
              <a:defRPr sz="11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389896" y="6173393"/>
            <a:ext cx="2362199" cy="431800"/>
          </a:xfrm>
        </p:spPr>
        <p:txBody>
          <a:bodyPr anchor="b"/>
          <a:lstStyle>
            <a:lvl1pPr algn="r">
              <a:defRPr sz="11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6195740" y="6325914"/>
            <a:ext cx="1234501" cy="234860"/>
            <a:chOff x="5518839" y="6290820"/>
            <a:chExt cx="1249434" cy="316852"/>
          </a:xfrm>
          <a:solidFill>
            <a:schemeClr val="bg1"/>
          </a:solidFill>
        </p:grpSpPr>
        <p:sp>
          <p:nvSpPr>
            <p:cNvPr id="19" name="Freeform 5"/>
            <p:cNvSpPr>
              <a:spLocks noEditPoints="1"/>
            </p:cNvSpPr>
            <p:nvPr userDrawn="1"/>
          </p:nvSpPr>
          <p:spPr bwMode="auto">
            <a:xfrm>
              <a:off x="5518839" y="6290820"/>
              <a:ext cx="1167929" cy="316852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6699791" y="6340239"/>
              <a:ext cx="68482" cy="73152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487710" y="5639521"/>
            <a:ext cx="5168758" cy="371869"/>
          </a:xfrm>
        </p:spPr>
        <p:txBody>
          <a:bodyPr anchor="t">
            <a:normAutofit/>
          </a:bodyPr>
          <a:lstStyle>
            <a:lvl1pPr marL="0" indent="0" algn="ctr">
              <a:buNone/>
              <a:defRPr sz="1700" b="0" cap="none" spc="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20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1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2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3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4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25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46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6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25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693080" y="6319890"/>
            <a:ext cx="1270752" cy="287783"/>
          </a:xfrm>
          <a:solidFill>
            <a:schemeClr val="bg2"/>
          </a:solidFill>
        </p:spPr>
        <p:txBody>
          <a:bodyPr anchor="ctr"/>
          <a:lstStyle>
            <a:lvl1pPr algn="ctr">
              <a:defRPr sz="900" b="1" baseline="0">
                <a:solidFill>
                  <a:schemeClr val="tx1"/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26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679164" y="4384650"/>
            <a:ext cx="6794350" cy="1280160"/>
          </a:xfrm>
        </p:spPr>
        <p:txBody>
          <a:bodyPr anchor="b"/>
          <a:lstStyle>
            <a:lvl1pPr algn="ctr">
              <a:lnSpc>
                <a:spcPct val="90000"/>
              </a:lnSpc>
              <a:defRPr sz="5400" b="0" i="0" cap="none" baseline="0">
                <a:solidFill>
                  <a:srgbClr val="FFFFFF"/>
                </a:solidFill>
                <a:latin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27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1"/>
            <a:ext cx="12188825" cy="4348066"/>
          </a:xfrm>
          <a:solidFill>
            <a:schemeClr val="bg2"/>
          </a:solidFill>
        </p:spPr>
        <p:txBody>
          <a:bodyPr anchor="ctr"/>
          <a:lstStyle>
            <a:lvl1pPr algn="ctr">
              <a:defRPr sz="8800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3511130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857" y="4115993"/>
            <a:ext cx="12188826" cy="2743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72410" y="6173393"/>
            <a:ext cx="2362199" cy="431800"/>
          </a:xfrm>
        </p:spPr>
        <p:txBody>
          <a:bodyPr anchor="b"/>
          <a:lstStyle>
            <a:lvl1pPr>
              <a:defRPr sz="1100" baseline="0">
                <a:solidFill>
                  <a:schemeClr val="accent2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389896" y="6173393"/>
            <a:ext cx="2362199" cy="431800"/>
          </a:xfrm>
        </p:spPr>
        <p:txBody>
          <a:bodyPr anchor="b"/>
          <a:lstStyle>
            <a:lvl1pPr algn="r">
              <a:defRPr sz="1100" baseline="0">
                <a:solidFill>
                  <a:schemeClr val="accent2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487710" y="5639521"/>
            <a:ext cx="5168758" cy="371869"/>
          </a:xfrm>
        </p:spPr>
        <p:txBody>
          <a:bodyPr anchor="t">
            <a:normAutofit/>
          </a:bodyPr>
          <a:lstStyle>
            <a:lvl1pPr marL="0" indent="0" algn="ctr">
              <a:buNone/>
              <a:defRPr sz="1700" b="0" cap="none" spc="0" baseline="0">
                <a:solidFill>
                  <a:schemeClr val="accent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20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1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2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3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4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25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46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6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6236130" y="6319890"/>
            <a:ext cx="1270752" cy="287783"/>
          </a:xfrm>
          <a:solidFill>
            <a:schemeClr val="bg2"/>
          </a:solidFill>
        </p:spPr>
        <p:txBody>
          <a:bodyPr anchor="ctr"/>
          <a:lstStyle>
            <a:lvl1pPr algn="ctr">
              <a:defRPr sz="900" b="1" baseline="0">
                <a:solidFill>
                  <a:schemeClr val="tx1"/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PARTNER LOGO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4719811" y="6314020"/>
            <a:ext cx="1282605" cy="245109"/>
            <a:chOff x="5841888" y="6443197"/>
            <a:chExt cx="528691" cy="134678"/>
          </a:xfrm>
          <a:solidFill>
            <a:schemeClr val="accent2"/>
          </a:solidFill>
        </p:grpSpPr>
        <p:sp>
          <p:nvSpPr>
            <p:cNvPr id="21" name="Freeform 5"/>
            <p:cNvSpPr>
              <a:spLocks noEditPoints="1"/>
            </p:cNvSpPr>
            <p:nvPr userDrawn="1"/>
          </p:nvSpPr>
          <p:spPr bwMode="auto">
            <a:xfrm>
              <a:off x="5841888" y="6443197"/>
              <a:ext cx="496424" cy="134678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6"/>
            <p:cNvSpPr>
              <a:spLocks noChangeAspect="1" noEditPoints="1"/>
            </p:cNvSpPr>
            <p:nvPr userDrawn="1"/>
          </p:nvSpPr>
          <p:spPr bwMode="auto">
            <a:xfrm>
              <a:off x="6346127" y="6468230"/>
              <a:ext cx="24452" cy="26333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24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1"/>
            <a:ext cx="12188825" cy="4348066"/>
          </a:xfrm>
          <a:solidFill>
            <a:schemeClr val="bg2"/>
          </a:solidFill>
        </p:spPr>
        <p:txBody>
          <a:bodyPr anchor="ctr"/>
          <a:lstStyle>
            <a:lvl1pPr algn="ctr">
              <a:defRPr sz="8800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2321897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4114800"/>
            <a:ext cx="12188826" cy="2743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72410" y="6173393"/>
            <a:ext cx="2362199" cy="431800"/>
          </a:xfrm>
        </p:spPr>
        <p:txBody>
          <a:bodyPr anchor="b"/>
          <a:lstStyle>
            <a:lvl1pPr>
              <a:defRPr sz="1100" baseline="0">
                <a:solidFill>
                  <a:srgbClr val="7D3F98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389896" y="6173393"/>
            <a:ext cx="2362199" cy="431800"/>
          </a:xfrm>
        </p:spPr>
        <p:txBody>
          <a:bodyPr anchor="b"/>
          <a:lstStyle>
            <a:lvl1pPr algn="r">
              <a:defRPr sz="1100" baseline="0">
                <a:solidFill>
                  <a:srgbClr val="7D3F98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487710" y="5639521"/>
            <a:ext cx="5168758" cy="371869"/>
          </a:xfrm>
        </p:spPr>
        <p:txBody>
          <a:bodyPr anchor="t">
            <a:normAutofit/>
          </a:bodyPr>
          <a:lstStyle>
            <a:lvl1pPr marL="0" indent="0" algn="ctr">
              <a:buNone/>
              <a:defRPr sz="1700" b="0" cap="none" spc="0" baseline="0">
                <a:solidFill>
                  <a:schemeClr val="accent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20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1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2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3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4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25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46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6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693080" y="6319890"/>
            <a:ext cx="1270752" cy="287783"/>
          </a:xfrm>
          <a:solidFill>
            <a:schemeClr val="bg2"/>
          </a:solidFill>
        </p:spPr>
        <p:txBody>
          <a:bodyPr anchor="ctr"/>
          <a:lstStyle>
            <a:lvl1pPr algn="ctr">
              <a:defRPr sz="900" b="1" baseline="0">
                <a:solidFill>
                  <a:schemeClr val="tx1"/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PARTNER LOGO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6223085" y="6310718"/>
            <a:ext cx="1282605" cy="245109"/>
            <a:chOff x="5841888" y="6443197"/>
            <a:chExt cx="528691" cy="134678"/>
          </a:xfrm>
          <a:solidFill>
            <a:schemeClr val="accent2"/>
          </a:solidFill>
        </p:grpSpPr>
        <p:sp>
          <p:nvSpPr>
            <p:cNvPr id="21" name="Freeform 5"/>
            <p:cNvSpPr>
              <a:spLocks noEditPoints="1"/>
            </p:cNvSpPr>
            <p:nvPr userDrawn="1"/>
          </p:nvSpPr>
          <p:spPr bwMode="auto">
            <a:xfrm>
              <a:off x="5841888" y="6443197"/>
              <a:ext cx="496424" cy="134678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6"/>
            <p:cNvSpPr>
              <a:spLocks noChangeAspect="1" noEditPoints="1"/>
            </p:cNvSpPr>
            <p:nvPr userDrawn="1"/>
          </p:nvSpPr>
          <p:spPr bwMode="auto">
            <a:xfrm>
              <a:off x="6346127" y="6468230"/>
              <a:ext cx="24452" cy="26333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24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1"/>
            <a:ext cx="12188825" cy="4348066"/>
          </a:xfrm>
          <a:solidFill>
            <a:schemeClr val="bg2"/>
          </a:solidFill>
        </p:spPr>
        <p:txBody>
          <a:bodyPr anchor="ctr"/>
          <a:lstStyle>
            <a:lvl1pPr algn="ctr">
              <a:defRPr sz="8800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403113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2" y="455614"/>
            <a:ext cx="11274425" cy="5932487"/>
          </a:xfrm>
        </p:spPr>
        <p:txBody>
          <a:bodyPr anchor="ctr" anchorCtr="1"/>
          <a:lstStyle>
            <a:lvl1pPr marL="0" indent="0" algn="ctr">
              <a:buFontTx/>
              <a:buNone/>
              <a:tabLst>
                <a:tab pos="1476095" algn="l"/>
              </a:tabLst>
              <a:defRPr sz="8800" b="0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  <a:lvl2pPr marL="0" indent="0" algn="ctr">
              <a:spcBef>
                <a:spcPts val="2211"/>
              </a:spcBef>
              <a:buFontTx/>
              <a:buNone/>
              <a:tabLst>
                <a:tab pos="1476095" algn="l"/>
              </a:tabLst>
              <a:defRPr sz="1700" b="0" i="0">
                <a:solidFill>
                  <a:schemeClr val="bg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0" indent="0" algn="ctr">
              <a:buFontTx/>
              <a:buNone/>
              <a:tabLst>
                <a:tab pos="1476095" algn="l"/>
              </a:tabLst>
              <a:defRPr sz="2500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tabLst>
                <a:tab pos="1476095" algn="l"/>
              </a:tabLst>
              <a:defRPr sz="2500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tabLst>
                <a:tab pos="1476095" algn="l"/>
              </a:tabLst>
              <a:defRPr sz="2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20229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6610" y="320040"/>
            <a:ext cx="9491462" cy="731610"/>
          </a:xfrm>
        </p:spPr>
        <p:txBody>
          <a:bodyPr anchor="ctr"/>
          <a:lstStyle>
            <a:lvl1pPr>
              <a:defRPr sz="2900"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26610" y="1330325"/>
            <a:ext cx="9480978" cy="4846320"/>
          </a:xfrm>
        </p:spPr>
        <p:txBody>
          <a:bodyPr/>
          <a:lstStyle>
            <a:lvl1pPr>
              <a:spcBef>
                <a:spcPts val="1474"/>
              </a:spcBef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 dirty="0"/>
              <a:t>First-level</a:t>
            </a:r>
          </a:p>
          <a:p>
            <a:pPr lvl="1"/>
            <a:r>
              <a:rPr lang="en-US" dirty="0"/>
              <a:t>Second-level</a:t>
            </a:r>
          </a:p>
          <a:p>
            <a:pPr lvl="2"/>
            <a:r>
              <a:rPr lang="en-US" dirty="0"/>
              <a:t>Third-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26609" y="1051560"/>
            <a:ext cx="1133264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4974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223" y="320040"/>
            <a:ext cx="9494849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23224" y="1330325"/>
            <a:ext cx="9476426" cy="4846320"/>
          </a:xfrm>
        </p:spPr>
        <p:txBody>
          <a:bodyPr/>
          <a:lstStyle>
            <a:lvl1pPr>
              <a:spcBef>
                <a:spcPts val="2211"/>
              </a:spcBef>
              <a:defRPr sz="1700" b="1" i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0" indent="0">
              <a:spcBef>
                <a:spcPts val="1474"/>
              </a:spcBef>
              <a:buFontTx/>
              <a:buNone/>
              <a:defRPr sz="1700"/>
            </a:lvl2pPr>
            <a:lvl3pPr marL="184317" indent="-184317">
              <a:spcBef>
                <a:spcPts val="737"/>
              </a:spcBef>
              <a:buFont typeface="Arial"/>
              <a:buChar char="•"/>
              <a:defRPr sz="1700"/>
            </a:lvl3pPr>
            <a:lvl4pPr marL="367172" indent="-184317">
              <a:spcBef>
                <a:spcPts val="368"/>
              </a:spcBef>
              <a:buFont typeface="Lucida Grande"/>
              <a:buChar char="-"/>
              <a:defRPr sz="1700"/>
            </a:lvl4pPr>
            <a:lvl5pPr>
              <a:defRPr sz="17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 </a:t>
            </a:r>
          </a:p>
          <a:p>
            <a:pPr lvl="2"/>
            <a:r>
              <a:rPr lang="en-US" dirty="0"/>
              <a:t>Second-level</a:t>
            </a:r>
          </a:p>
          <a:p>
            <a:pPr lvl="3"/>
            <a:r>
              <a:rPr lang="en-US" dirty="0"/>
              <a:t>Third-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26609" y="1051560"/>
            <a:ext cx="1133264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6095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| ImageLFT |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484971" cy="6858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86477" y="320040"/>
            <a:ext cx="5648323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1" y="1325880"/>
            <a:ext cx="5651500" cy="4846320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 dirty="0"/>
              <a:t>First-level</a:t>
            </a:r>
          </a:p>
          <a:p>
            <a:pPr lvl="1"/>
            <a:r>
              <a:rPr lang="en-US" dirty="0"/>
              <a:t>Second-level</a:t>
            </a:r>
          </a:p>
          <a:p>
            <a:pPr lvl="2"/>
            <a:r>
              <a:rPr lang="en-US" dirty="0"/>
              <a:t>Third-level</a:t>
            </a:r>
          </a:p>
        </p:txBody>
      </p:sp>
      <p:sp>
        <p:nvSpPr>
          <p:cNvPr id="7" name="Content Placeholder 8"/>
          <p:cNvSpPr txBox="1">
            <a:spLocks/>
          </p:cNvSpPr>
          <p:nvPr userDrawn="1"/>
        </p:nvSpPr>
        <p:spPr>
          <a:xfrm>
            <a:off x="457200" y="6418626"/>
            <a:ext cx="385921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FFFFFF"/>
                </a:solidFill>
              </a:rPr>
              <a:t>©2018 Aetna Inc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079696" y="1051560"/>
            <a:ext cx="566780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5658793" y="6262778"/>
            <a:ext cx="1770829" cy="59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b="1" dirty="0">
              <a:solidFill>
                <a:srgbClr val="FFFFFF"/>
              </a:solidFill>
              <a:latin typeface="Open Sans Bold"/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2890022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| ImageRT |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703855" y="0"/>
            <a:ext cx="5484971" cy="6858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6609" y="320040"/>
            <a:ext cx="5486400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26609" y="1325880"/>
            <a:ext cx="5486400" cy="4846320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 dirty="0"/>
              <a:t>First-level</a:t>
            </a:r>
          </a:p>
          <a:p>
            <a:pPr lvl="1"/>
            <a:r>
              <a:rPr lang="en-US" dirty="0"/>
              <a:t>Second-level</a:t>
            </a:r>
          </a:p>
          <a:p>
            <a:pPr lvl="2"/>
            <a:r>
              <a:rPr lang="en-US" dirty="0"/>
              <a:t>Third-level</a:t>
            </a:r>
          </a:p>
        </p:txBody>
      </p:sp>
      <p:sp>
        <p:nvSpPr>
          <p:cNvPr id="6" name="Content Placeholder 8"/>
          <p:cNvSpPr txBox="1">
            <a:spLocks/>
          </p:cNvSpPr>
          <p:nvPr userDrawn="1"/>
        </p:nvSpPr>
        <p:spPr>
          <a:xfrm>
            <a:off x="11169232" y="6418626"/>
            <a:ext cx="734302" cy="228600"/>
          </a:xfrm>
          <a:prstGeom prst="rect">
            <a:avLst/>
          </a:prstGeom>
        </p:spPr>
        <p:txBody>
          <a:bodyPr lIns="112316" tIns="56158" rIns="112316" bIns="56158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200" smtClean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200" dirty="0">
              <a:solidFill>
                <a:srgbClr val="FFFFFF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26609" y="1051560"/>
            <a:ext cx="566780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4794236" y="6262778"/>
            <a:ext cx="1770829" cy="59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b="1" dirty="0">
              <a:solidFill>
                <a:srgbClr val="FFFFFF"/>
              </a:solidFill>
              <a:latin typeface="Open Sans Bold"/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3677564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4114800"/>
            <a:ext cx="12188826" cy="274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72410" y="6173393"/>
            <a:ext cx="2362199" cy="431800"/>
          </a:xfrm>
        </p:spPr>
        <p:txBody>
          <a:bodyPr anchor="b"/>
          <a:lstStyle>
            <a:lvl1pPr>
              <a:defRPr sz="11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noProof="0" dirty="0"/>
              <a:t>Presenter Nam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389896" y="6173393"/>
            <a:ext cx="2362199" cy="431800"/>
          </a:xfrm>
        </p:spPr>
        <p:txBody>
          <a:bodyPr anchor="b"/>
          <a:lstStyle>
            <a:lvl1pPr algn="r">
              <a:defRPr sz="11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8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679164" y="4384650"/>
            <a:ext cx="6794350" cy="1280160"/>
          </a:xfrm>
        </p:spPr>
        <p:txBody>
          <a:bodyPr anchor="b"/>
          <a:lstStyle>
            <a:lvl1pPr algn="ctr">
              <a:lnSpc>
                <a:spcPct val="90000"/>
              </a:lnSpc>
              <a:defRPr sz="5400" b="0" i="0" cap="none" baseline="0">
                <a:solidFill>
                  <a:srgbClr val="FFFFFF"/>
                </a:solidFill>
                <a:latin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2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487710" y="5639521"/>
            <a:ext cx="5168758" cy="371869"/>
          </a:xfrm>
        </p:spPr>
        <p:txBody>
          <a:bodyPr anchor="t">
            <a:normAutofit/>
          </a:bodyPr>
          <a:lstStyle>
            <a:lvl1pPr marL="0" indent="0" algn="ctr">
              <a:buNone/>
              <a:defRPr sz="1700" b="0" cap="none" spc="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20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1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2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3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4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25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46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6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3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6236130" y="6319890"/>
            <a:ext cx="1270752" cy="287783"/>
          </a:xfrm>
          <a:solidFill>
            <a:schemeClr val="bg2"/>
          </a:solidFill>
        </p:spPr>
        <p:txBody>
          <a:bodyPr anchor="ctr"/>
          <a:lstStyle>
            <a:lvl1pPr algn="ctr">
              <a:defRPr sz="900" b="1" baseline="0">
                <a:solidFill>
                  <a:schemeClr val="tx1"/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PARTNER LOGO</a:t>
            </a:r>
          </a:p>
        </p:txBody>
      </p:sp>
      <p:grpSp>
        <p:nvGrpSpPr>
          <p:cNvPr id="31" name="Group 30"/>
          <p:cNvGrpSpPr/>
          <p:nvPr userDrawn="1"/>
        </p:nvGrpSpPr>
        <p:grpSpPr>
          <a:xfrm>
            <a:off x="4796444" y="6325914"/>
            <a:ext cx="1234501" cy="234860"/>
            <a:chOff x="5518839" y="6290820"/>
            <a:chExt cx="1249434" cy="316852"/>
          </a:xfrm>
          <a:solidFill>
            <a:schemeClr val="bg1"/>
          </a:solidFill>
        </p:grpSpPr>
        <p:sp>
          <p:nvSpPr>
            <p:cNvPr id="32" name="Freeform 31"/>
            <p:cNvSpPr>
              <a:spLocks noEditPoints="1"/>
            </p:cNvSpPr>
            <p:nvPr userDrawn="1"/>
          </p:nvSpPr>
          <p:spPr bwMode="auto">
            <a:xfrm>
              <a:off x="5518839" y="6290820"/>
              <a:ext cx="1167929" cy="316852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32"/>
            <p:cNvSpPr>
              <a:spLocks noEditPoints="1"/>
            </p:cNvSpPr>
            <p:nvPr userDrawn="1"/>
          </p:nvSpPr>
          <p:spPr bwMode="auto">
            <a:xfrm>
              <a:off x="6699791" y="6340239"/>
              <a:ext cx="68482" cy="73152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34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1"/>
            <a:ext cx="12188825" cy="4348066"/>
          </a:xfrm>
          <a:solidFill>
            <a:schemeClr val="bg2"/>
          </a:solidFill>
        </p:spPr>
        <p:txBody>
          <a:bodyPr anchor="ctr"/>
          <a:lstStyle>
            <a:lvl1pPr algn="ctr">
              <a:defRPr sz="8800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3270039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 | ImageLFT |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484971" cy="6858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86475" y="320040"/>
            <a:ext cx="5656263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1" y="1325880"/>
            <a:ext cx="5646738" cy="4846320"/>
          </a:xfrm>
        </p:spPr>
        <p:txBody>
          <a:bodyPr/>
          <a:lstStyle>
            <a:lvl1pPr>
              <a:spcBef>
                <a:spcPts val="2211"/>
              </a:spcBef>
              <a:defRPr sz="1700" b="1">
                <a:solidFill>
                  <a:schemeClr val="tx2"/>
                </a:solidFill>
                <a:latin typeface="Open Sans Bold"/>
                <a:cs typeface="Open Sans Bold"/>
              </a:defRPr>
            </a:lvl1pPr>
            <a:lvl2pPr marL="0" indent="0">
              <a:spcBef>
                <a:spcPts val="1474"/>
              </a:spcBef>
              <a:buFontTx/>
              <a:buNone/>
              <a:defRPr sz="1700"/>
            </a:lvl2pPr>
            <a:lvl3pPr marL="184317" indent="-184317">
              <a:spcBef>
                <a:spcPts val="368"/>
              </a:spcBef>
              <a:buFont typeface="Arial"/>
              <a:buChar char="•"/>
              <a:defRPr sz="1700"/>
            </a:lvl3pPr>
            <a:lvl4pPr marL="367172" indent="-184317">
              <a:spcBef>
                <a:spcPts val="368"/>
              </a:spcBef>
              <a:buFont typeface="Lucida Grande"/>
              <a:buChar char="-"/>
              <a:defRPr sz="1700"/>
            </a:lvl4pPr>
            <a:lvl5pPr>
              <a:defRPr sz="17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  <a:p>
            <a:pPr lvl="2"/>
            <a:r>
              <a:rPr lang="en-US" dirty="0"/>
              <a:t>Second-level</a:t>
            </a:r>
          </a:p>
          <a:p>
            <a:pPr lvl="3"/>
            <a:r>
              <a:rPr lang="en-US" dirty="0"/>
              <a:t>Third-level</a:t>
            </a:r>
          </a:p>
        </p:txBody>
      </p:sp>
      <p:sp>
        <p:nvSpPr>
          <p:cNvPr id="6" name="Content Placeholder 8"/>
          <p:cNvSpPr txBox="1">
            <a:spLocks/>
          </p:cNvSpPr>
          <p:nvPr userDrawn="1"/>
        </p:nvSpPr>
        <p:spPr>
          <a:xfrm>
            <a:off x="457200" y="6418626"/>
            <a:ext cx="385921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FFFFFF"/>
                </a:solidFill>
              </a:rPr>
              <a:t>©2018 Aetna Inc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079696" y="1051560"/>
            <a:ext cx="566780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/>
        </p:nvSpPr>
        <p:spPr>
          <a:xfrm>
            <a:off x="5658793" y="6262778"/>
            <a:ext cx="1770829" cy="59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b="1" dirty="0">
              <a:solidFill>
                <a:srgbClr val="FFFFFF"/>
              </a:solidFill>
              <a:latin typeface="Open Sans Bold"/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3926070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 | ImageRT |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6703855" y="0"/>
            <a:ext cx="5484971" cy="6858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6609" y="320040"/>
            <a:ext cx="5486400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26609" y="1325880"/>
            <a:ext cx="5486400" cy="4846320"/>
          </a:xfrm>
        </p:spPr>
        <p:txBody>
          <a:bodyPr/>
          <a:lstStyle>
            <a:lvl1pPr>
              <a:spcBef>
                <a:spcPts val="2211"/>
              </a:spcBef>
              <a:defRPr sz="1700" b="1">
                <a:solidFill>
                  <a:schemeClr val="tx2"/>
                </a:solidFill>
                <a:latin typeface="Open Sans Bold"/>
                <a:cs typeface="Open Sans Bold"/>
              </a:defRPr>
            </a:lvl1pPr>
            <a:lvl2pPr marL="0" indent="0">
              <a:spcBef>
                <a:spcPts val="1474"/>
              </a:spcBef>
              <a:buFontTx/>
              <a:buNone/>
              <a:defRPr sz="1700"/>
            </a:lvl2pPr>
            <a:lvl3pPr marL="184317" indent="-184317">
              <a:spcBef>
                <a:spcPts val="368"/>
              </a:spcBef>
              <a:buFont typeface="Arial"/>
              <a:buChar char="•"/>
              <a:defRPr sz="1700"/>
            </a:lvl3pPr>
            <a:lvl4pPr marL="367172" indent="-184317">
              <a:spcBef>
                <a:spcPts val="368"/>
              </a:spcBef>
              <a:buFont typeface="Lucida Grande"/>
              <a:buChar char="-"/>
              <a:defRPr sz="1700"/>
            </a:lvl4pPr>
            <a:lvl5pPr>
              <a:defRPr sz="17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  <a:p>
            <a:pPr lvl="2"/>
            <a:r>
              <a:rPr lang="en-US" dirty="0"/>
              <a:t>Second-level</a:t>
            </a:r>
          </a:p>
          <a:p>
            <a:pPr lvl="3"/>
            <a:r>
              <a:rPr lang="en-US" dirty="0"/>
              <a:t>Third-level</a:t>
            </a:r>
          </a:p>
        </p:txBody>
      </p:sp>
      <p:sp>
        <p:nvSpPr>
          <p:cNvPr id="10" name="Content Placeholder 8"/>
          <p:cNvSpPr txBox="1">
            <a:spLocks/>
          </p:cNvSpPr>
          <p:nvPr userDrawn="1"/>
        </p:nvSpPr>
        <p:spPr>
          <a:xfrm>
            <a:off x="11169232" y="6418626"/>
            <a:ext cx="734302" cy="228600"/>
          </a:xfrm>
          <a:prstGeom prst="rect">
            <a:avLst/>
          </a:prstGeom>
        </p:spPr>
        <p:txBody>
          <a:bodyPr lIns="112316" tIns="56158" rIns="112316" bIns="56158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200" smtClean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200" dirty="0">
              <a:solidFill>
                <a:srgbClr val="FFFFFF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26609" y="1051560"/>
            <a:ext cx="566780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/>
        </p:nvSpPr>
        <p:spPr>
          <a:xfrm>
            <a:off x="4794236" y="6262778"/>
            <a:ext cx="1770829" cy="59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b="1" dirty="0">
              <a:solidFill>
                <a:srgbClr val="FFFFFF"/>
              </a:solidFill>
              <a:latin typeface="Open Sans Bold"/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3668527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 | Title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224" y="320040"/>
            <a:ext cx="9494848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23225" y="1330324"/>
            <a:ext cx="3918895" cy="4846320"/>
          </a:xfrm>
        </p:spPr>
        <p:txBody>
          <a:bodyPr/>
          <a:lstStyle>
            <a:lvl1pPr>
              <a:spcBef>
                <a:spcPts val="1474"/>
              </a:spcBef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 dirty="0"/>
              <a:t>First-level</a:t>
            </a:r>
          </a:p>
          <a:p>
            <a:pPr lvl="1"/>
            <a:r>
              <a:rPr lang="en-US" dirty="0"/>
              <a:t>Second-level</a:t>
            </a:r>
          </a:p>
          <a:p>
            <a:pPr lvl="2"/>
            <a:r>
              <a:rPr lang="en-US" dirty="0"/>
              <a:t>Third-level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26609" y="1051560"/>
            <a:ext cx="1133264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3715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 | 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227" y="320040"/>
            <a:ext cx="9494847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23225" y="1330324"/>
            <a:ext cx="3920176" cy="4846320"/>
          </a:xfrm>
        </p:spPr>
        <p:txBody>
          <a:bodyPr/>
          <a:lstStyle>
            <a:lvl1pPr>
              <a:spcBef>
                <a:spcPts val="2211"/>
              </a:spcBef>
              <a:defRPr sz="1700" b="1">
                <a:solidFill>
                  <a:schemeClr val="tx2"/>
                </a:solidFill>
                <a:latin typeface="Open Sans Bold"/>
                <a:cs typeface="Open Sans Bold"/>
              </a:defRPr>
            </a:lvl1pPr>
            <a:lvl2pPr marL="0" indent="0">
              <a:spcBef>
                <a:spcPts val="1474"/>
              </a:spcBef>
              <a:buFontTx/>
              <a:buNone/>
              <a:defRPr sz="1700"/>
            </a:lvl2pPr>
            <a:lvl3pPr marL="184317" indent="-184317">
              <a:spcBef>
                <a:spcPts val="737"/>
              </a:spcBef>
              <a:buFont typeface="Arial"/>
              <a:buChar char="•"/>
              <a:defRPr sz="1700"/>
            </a:lvl3pPr>
            <a:lvl4pPr marL="367172" indent="-184317">
              <a:spcBef>
                <a:spcPts val="368"/>
              </a:spcBef>
              <a:buFont typeface="Lucida Grande"/>
              <a:buChar char="-"/>
              <a:defRPr sz="1700"/>
            </a:lvl4pPr>
            <a:lvl5pPr>
              <a:defRPr sz="17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  <a:p>
            <a:pPr lvl="2"/>
            <a:r>
              <a:rPr lang="en-US" dirty="0"/>
              <a:t>Second-level</a:t>
            </a:r>
          </a:p>
          <a:p>
            <a:pPr lvl="3"/>
            <a:r>
              <a:rPr lang="en-US" dirty="0"/>
              <a:t>Third-level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26609" y="1051560"/>
            <a:ext cx="1133264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4020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224" y="320040"/>
            <a:ext cx="9494848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26609" y="1051560"/>
            <a:ext cx="1133264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9843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 Impact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" y="6325941"/>
            <a:ext cx="12188825" cy="53206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sz="1700" b="1" dirty="0">
              <a:solidFill>
                <a:srgbClr val="FFFFFF"/>
              </a:solidFill>
              <a:latin typeface="Open Sans Bold"/>
              <a:cs typeface="Open Sans Bold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224" y="320040"/>
            <a:ext cx="11314505" cy="731520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0" name="Content Placeholder 8"/>
          <p:cNvSpPr txBox="1">
            <a:spLocks/>
          </p:cNvSpPr>
          <p:nvPr userDrawn="1"/>
        </p:nvSpPr>
        <p:spPr>
          <a:xfrm>
            <a:off x="11169232" y="6418626"/>
            <a:ext cx="734302" cy="228600"/>
          </a:xfrm>
          <a:prstGeom prst="rect">
            <a:avLst/>
          </a:prstGeom>
        </p:spPr>
        <p:txBody>
          <a:bodyPr lIns="112316" tIns="56158" rIns="112316" bIns="56158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200" smtClean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200" dirty="0">
              <a:solidFill>
                <a:srgbClr val="FFFFFF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2" name="Content Placeholder 8"/>
          <p:cNvSpPr txBox="1">
            <a:spLocks/>
          </p:cNvSpPr>
          <p:nvPr userDrawn="1"/>
        </p:nvSpPr>
        <p:spPr>
          <a:xfrm>
            <a:off x="457200" y="6418626"/>
            <a:ext cx="385921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dirty="0">
                <a:solidFill>
                  <a:srgbClr val="FFFFFF"/>
                </a:solidFill>
              </a:rPr>
              <a:t>©201</a:t>
            </a:r>
            <a:r>
              <a:rPr lang="en-US" dirty="0">
                <a:solidFill>
                  <a:srgbClr val="FFFFFF"/>
                </a:solidFill>
              </a:rPr>
              <a:t>8</a:t>
            </a:r>
            <a:r>
              <a:rPr lang="tr-TR" dirty="0">
                <a:solidFill>
                  <a:srgbClr val="FFFFFF"/>
                </a:solidFill>
              </a:rPr>
              <a:t> Aetna Inc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26609" y="1051560"/>
            <a:ext cx="1133264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 userDrawn="1"/>
        </p:nvGrpSpPr>
        <p:grpSpPr>
          <a:xfrm>
            <a:off x="5784195" y="6441557"/>
            <a:ext cx="620436" cy="118036"/>
            <a:chOff x="5518839" y="6290820"/>
            <a:chExt cx="1249434" cy="316852"/>
          </a:xfrm>
          <a:solidFill>
            <a:schemeClr val="bg1"/>
          </a:solidFill>
        </p:grpSpPr>
        <p:sp>
          <p:nvSpPr>
            <p:cNvPr id="11" name="Freeform 5"/>
            <p:cNvSpPr>
              <a:spLocks noEditPoints="1"/>
            </p:cNvSpPr>
            <p:nvPr userDrawn="1"/>
          </p:nvSpPr>
          <p:spPr bwMode="auto">
            <a:xfrm>
              <a:off x="5518839" y="6290820"/>
              <a:ext cx="1167929" cy="316852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6699791" y="6340239"/>
              <a:ext cx="68482" cy="73152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4044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5861" y="0"/>
            <a:ext cx="3062965" cy="6858000"/>
          </a:xfrm>
          <a:prstGeom prst="rect">
            <a:avLst/>
          </a:prstGeom>
          <a:solidFill>
            <a:srgbClr val="7D3F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259" tIns="42129" rIns="84259" bIns="4212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224" y="320040"/>
            <a:ext cx="8447244" cy="731520"/>
          </a:xfrm>
        </p:spPr>
        <p:txBody>
          <a:bodyPr anchor="ctr"/>
          <a:lstStyle>
            <a:lvl1pPr>
              <a:defRPr sz="2900" b="0"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23223" y="1330324"/>
            <a:ext cx="8443315" cy="4846320"/>
          </a:xfrm>
        </p:spPr>
        <p:txBody>
          <a:bodyPr/>
          <a:lstStyle>
            <a:lvl1pPr>
              <a:spcBef>
                <a:spcPts val="1474"/>
              </a:spcBef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 dirty="0"/>
              <a:t>First-level</a:t>
            </a:r>
          </a:p>
          <a:p>
            <a:pPr lvl="1"/>
            <a:r>
              <a:rPr lang="en-US" dirty="0"/>
              <a:t>Second-level</a:t>
            </a:r>
          </a:p>
          <a:p>
            <a:pPr lvl="2"/>
            <a:r>
              <a:rPr lang="en-US" dirty="0"/>
              <a:t>Third-level</a:t>
            </a:r>
          </a:p>
        </p:txBody>
      </p:sp>
      <p:sp>
        <p:nvSpPr>
          <p:cNvPr id="8" name="Content Placeholder 8"/>
          <p:cNvSpPr txBox="1">
            <a:spLocks/>
          </p:cNvSpPr>
          <p:nvPr userDrawn="1"/>
        </p:nvSpPr>
        <p:spPr>
          <a:xfrm>
            <a:off x="11169232" y="6418626"/>
            <a:ext cx="734302" cy="228600"/>
          </a:xfrm>
          <a:prstGeom prst="rect">
            <a:avLst/>
          </a:prstGeom>
        </p:spPr>
        <p:txBody>
          <a:bodyPr lIns="112316" tIns="56158" rIns="112316" bIns="56158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200" smtClean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200" dirty="0">
              <a:solidFill>
                <a:srgbClr val="FFFFFF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26609" y="1051560"/>
            <a:ext cx="8434667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034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 Right |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5861" y="0"/>
            <a:ext cx="3062965" cy="6858000"/>
          </a:xfrm>
          <a:prstGeom prst="rect">
            <a:avLst/>
          </a:prstGeom>
          <a:solidFill>
            <a:srgbClr val="7D3F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259" tIns="42129" rIns="84259" bIns="4212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224" y="320040"/>
            <a:ext cx="8447244" cy="731520"/>
          </a:xfrm>
        </p:spPr>
        <p:txBody>
          <a:bodyPr anchor="ctr"/>
          <a:lstStyle>
            <a:lvl1pPr>
              <a:defRPr sz="2900" b="0"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26610" y="1330324"/>
            <a:ext cx="8443071" cy="4846320"/>
          </a:xfrm>
        </p:spPr>
        <p:txBody>
          <a:bodyPr/>
          <a:lstStyle>
            <a:lvl1pPr>
              <a:spcBef>
                <a:spcPts val="2211"/>
              </a:spcBef>
              <a:defRPr sz="1700" b="1">
                <a:solidFill>
                  <a:schemeClr val="tx2"/>
                </a:solidFill>
                <a:latin typeface="Open Sans Bold"/>
                <a:cs typeface="Open Sans Bold"/>
              </a:defRPr>
            </a:lvl1pPr>
            <a:lvl2pPr marL="0" indent="0">
              <a:spcBef>
                <a:spcPts val="1474"/>
              </a:spcBef>
              <a:buFontTx/>
              <a:buNone/>
              <a:defRPr sz="1700"/>
            </a:lvl2pPr>
            <a:lvl3pPr marL="184317" indent="-184317">
              <a:spcBef>
                <a:spcPts val="737"/>
              </a:spcBef>
              <a:buFont typeface="Arial"/>
              <a:buChar char="•"/>
              <a:defRPr sz="1700"/>
            </a:lvl3pPr>
            <a:lvl4pPr marL="367172" indent="-184317">
              <a:spcBef>
                <a:spcPts val="368"/>
              </a:spcBef>
              <a:buFont typeface="Lucida Grande"/>
              <a:buChar char="-"/>
              <a:defRPr sz="1700"/>
            </a:lvl4pPr>
            <a:lvl5pPr>
              <a:defRPr sz="17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 </a:t>
            </a:r>
          </a:p>
          <a:p>
            <a:pPr lvl="2"/>
            <a:r>
              <a:rPr lang="en-US" dirty="0"/>
              <a:t>Second-level</a:t>
            </a:r>
          </a:p>
          <a:p>
            <a:pPr lvl="3"/>
            <a:r>
              <a:rPr lang="en-US" dirty="0"/>
              <a:t>Third-level</a:t>
            </a:r>
          </a:p>
        </p:txBody>
      </p:sp>
      <p:sp>
        <p:nvSpPr>
          <p:cNvPr id="10" name="Content Placeholder 8"/>
          <p:cNvSpPr txBox="1">
            <a:spLocks/>
          </p:cNvSpPr>
          <p:nvPr userDrawn="1"/>
        </p:nvSpPr>
        <p:spPr>
          <a:xfrm>
            <a:off x="11169232" y="6418626"/>
            <a:ext cx="734302" cy="228600"/>
          </a:xfrm>
          <a:prstGeom prst="rect">
            <a:avLst/>
          </a:prstGeom>
        </p:spPr>
        <p:txBody>
          <a:bodyPr lIns="112316" tIns="56158" rIns="112316" bIns="56158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200" smtClean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200" dirty="0">
              <a:solidFill>
                <a:srgbClr val="FFFFFF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26609" y="1051560"/>
            <a:ext cx="8434667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0217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1016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5208999" y="6262778"/>
            <a:ext cx="1770829" cy="59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b="1" dirty="0">
              <a:solidFill>
                <a:srgbClr val="FFFFFF"/>
              </a:solidFill>
              <a:latin typeface="Open Sans Bold"/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3757405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4114800"/>
            <a:ext cx="12188826" cy="274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72410" y="6173393"/>
            <a:ext cx="2362199" cy="431800"/>
          </a:xfrm>
        </p:spPr>
        <p:txBody>
          <a:bodyPr anchor="b"/>
          <a:lstStyle>
            <a:lvl1pPr>
              <a:defRPr sz="11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389896" y="6173393"/>
            <a:ext cx="2362199" cy="431800"/>
          </a:xfrm>
        </p:spPr>
        <p:txBody>
          <a:bodyPr anchor="b"/>
          <a:lstStyle>
            <a:lvl1pPr algn="r">
              <a:defRPr sz="11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6195740" y="6325914"/>
            <a:ext cx="1234501" cy="234860"/>
            <a:chOff x="5518839" y="6290820"/>
            <a:chExt cx="1249434" cy="316852"/>
          </a:xfrm>
          <a:solidFill>
            <a:schemeClr val="bg1"/>
          </a:solidFill>
        </p:grpSpPr>
        <p:sp>
          <p:nvSpPr>
            <p:cNvPr id="19" name="Freeform 5"/>
            <p:cNvSpPr>
              <a:spLocks noEditPoints="1"/>
            </p:cNvSpPr>
            <p:nvPr userDrawn="1"/>
          </p:nvSpPr>
          <p:spPr bwMode="auto">
            <a:xfrm>
              <a:off x="5518839" y="6290820"/>
              <a:ext cx="1167929" cy="316852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6699791" y="6340239"/>
              <a:ext cx="68482" cy="73152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487710" y="5639521"/>
            <a:ext cx="5168758" cy="371869"/>
          </a:xfrm>
        </p:spPr>
        <p:txBody>
          <a:bodyPr anchor="t">
            <a:normAutofit/>
          </a:bodyPr>
          <a:lstStyle>
            <a:lvl1pPr marL="0" indent="0" algn="ctr">
              <a:buNone/>
              <a:defRPr sz="1700" b="0" cap="none" spc="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20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1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2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3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4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25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46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6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25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693080" y="6319890"/>
            <a:ext cx="1270752" cy="287783"/>
          </a:xfrm>
          <a:solidFill>
            <a:schemeClr val="bg2"/>
          </a:solidFill>
        </p:spPr>
        <p:txBody>
          <a:bodyPr anchor="ctr"/>
          <a:lstStyle>
            <a:lvl1pPr algn="ctr">
              <a:defRPr sz="900" b="1" baseline="0">
                <a:solidFill>
                  <a:schemeClr val="tx1"/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26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679164" y="4384650"/>
            <a:ext cx="6794350" cy="1280160"/>
          </a:xfrm>
        </p:spPr>
        <p:txBody>
          <a:bodyPr anchor="b"/>
          <a:lstStyle>
            <a:lvl1pPr algn="ctr">
              <a:lnSpc>
                <a:spcPct val="90000"/>
              </a:lnSpc>
              <a:defRPr sz="5400" b="0" i="0" cap="none" baseline="0">
                <a:solidFill>
                  <a:srgbClr val="FFFFFF"/>
                </a:solidFill>
                <a:latin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27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1"/>
            <a:ext cx="12188825" cy="4348066"/>
          </a:xfrm>
          <a:solidFill>
            <a:schemeClr val="bg2"/>
          </a:solidFill>
        </p:spPr>
        <p:txBody>
          <a:bodyPr anchor="ctr"/>
          <a:lstStyle>
            <a:lvl1pPr algn="ctr">
              <a:defRPr sz="8800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332509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Quot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794236" y="6262778"/>
            <a:ext cx="1770829" cy="59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b="1" dirty="0">
              <a:solidFill>
                <a:srgbClr val="FFFFFF"/>
              </a:solidFill>
              <a:latin typeface="Open Sans Bold"/>
              <a:cs typeface="Open Sans Bold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266089" y="0"/>
            <a:ext cx="7922736" cy="6858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47677" y="455614"/>
            <a:ext cx="3192342" cy="5932487"/>
          </a:xfrm>
        </p:spPr>
        <p:txBody>
          <a:bodyPr anchor="ctr"/>
          <a:lstStyle>
            <a:lvl1pPr algn="ctr">
              <a:lnSpc>
                <a:spcPct val="100000"/>
              </a:lnSpc>
              <a:defRPr sz="2500" b="0">
                <a:solidFill>
                  <a:schemeClr val="accent2"/>
                </a:solidFill>
                <a:latin typeface="Domaine Display Bold" panose="020A0803080505060203" pitchFamily="18" charset="0"/>
                <a:cs typeface="Domaine Display Bold" panose="020A0803080505060203" pitchFamily="18" charset="0"/>
              </a:defRPr>
            </a:lvl1pPr>
            <a:lvl2pPr marL="0" indent="0" algn="ctr">
              <a:lnSpc>
                <a:spcPts val="3686"/>
              </a:lnSpc>
              <a:spcBef>
                <a:spcPts val="0"/>
              </a:spcBef>
              <a:buFontTx/>
              <a:buNone/>
              <a:defRPr sz="2500">
                <a:solidFill>
                  <a:schemeClr val="accent2"/>
                </a:solidFill>
              </a:defRPr>
            </a:lvl2pPr>
            <a:lvl3pPr marL="7315" indent="0" algn="ctr">
              <a:lnSpc>
                <a:spcPts val="368"/>
              </a:lnSpc>
              <a:spcBef>
                <a:spcPts val="553"/>
              </a:spcBef>
              <a:buNone/>
              <a:tabLst>
                <a:tab pos="1107366" algn="l"/>
              </a:tabLst>
              <a:defRPr sz="1300">
                <a:solidFill>
                  <a:schemeClr val="accent2"/>
                </a:solidFill>
              </a:defRPr>
            </a:lvl3pPr>
            <a:lvl4pPr marL="7315" indent="0" algn="ctr">
              <a:lnSpc>
                <a:spcPct val="100000"/>
              </a:lnSpc>
              <a:spcBef>
                <a:spcPts val="276"/>
              </a:spcBef>
              <a:buNone/>
              <a:tabLst>
                <a:tab pos="1107366" algn="l"/>
              </a:tabLst>
              <a:defRPr sz="1300">
                <a:solidFill>
                  <a:schemeClr val="accent2"/>
                </a:solidFill>
              </a:defRPr>
            </a:lvl4pPr>
          </a:lstStyle>
          <a:p>
            <a:pPr lvl="0"/>
            <a:r>
              <a:rPr lang="en-US" dirty="0"/>
              <a:t>Quote text</a:t>
            </a:r>
          </a:p>
          <a:p>
            <a:pPr lvl="1"/>
            <a:r>
              <a:rPr lang="en-US" dirty="0"/>
              <a:t>—</a:t>
            </a:r>
          </a:p>
          <a:p>
            <a:pPr lvl="2"/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Attribution first line</a:t>
            </a:r>
          </a:p>
          <a:p>
            <a:pPr lvl="3"/>
            <a:r>
              <a:rPr lang="en-US" dirty="0"/>
              <a:t>Attribution continued</a:t>
            </a:r>
          </a:p>
        </p:txBody>
      </p:sp>
      <p:sp>
        <p:nvSpPr>
          <p:cNvPr id="4" name="Content Placeholder 8"/>
          <p:cNvSpPr txBox="1">
            <a:spLocks/>
          </p:cNvSpPr>
          <p:nvPr userDrawn="1"/>
        </p:nvSpPr>
        <p:spPr>
          <a:xfrm>
            <a:off x="11169232" y="6418626"/>
            <a:ext cx="734302" cy="228600"/>
          </a:xfrm>
          <a:prstGeom prst="rect">
            <a:avLst/>
          </a:prstGeom>
        </p:spPr>
        <p:txBody>
          <a:bodyPr lIns="112316" tIns="56158" rIns="112316" bIns="56158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200" smtClean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200" dirty="0">
              <a:solidFill>
                <a:srgbClr val="FFFFFF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4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Quote B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266089" y="0"/>
            <a:ext cx="7922736" cy="6858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47676" y="455613"/>
            <a:ext cx="3200400" cy="5932487"/>
          </a:xfrm>
        </p:spPr>
        <p:txBody>
          <a:bodyPr anchor="ctr" anchorCtr="1"/>
          <a:lstStyle>
            <a:lvl1pPr marL="7315" indent="-7315" algn="ctr">
              <a:spcBef>
                <a:spcPts val="0"/>
              </a:spcBef>
              <a:spcAft>
                <a:spcPts val="0"/>
              </a:spcAft>
              <a:tabLst/>
              <a:defRPr sz="2500" b="0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  <a:lvl2pPr marL="0" indent="0" algn="ctr">
              <a:lnSpc>
                <a:spcPts val="3686"/>
              </a:lnSpc>
              <a:spcBef>
                <a:spcPts val="0"/>
              </a:spcBef>
              <a:buFontTx/>
              <a:buNone/>
              <a:tabLst/>
              <a:defRPr sz="2500">
                <a:solidFill>
                  <a:schemeClr val="bg1"/>
                </a:solidFill>
              </a:defRPr>
            </a:lvl2pPr>
            <a:lvl3pPr marL="0" indent="0" algn="ctr">
              <a:lnSpc>
                <a:spcPts val="368"/>
              </a:lnSpc>
              <a:spcBef>
                <a:spcPts val="553"/>
              </a:spcBef>
              <a:buFontTx/>
              <a:buNone/>
              <a:tabLst/>
              <a:defRPr sz="1300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tabLst/>
              <a:defRPr sz="1300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tabLst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 text</a:t>
            </a:r>
          </a:p>
          <a:p>
            <a:pPr lvl="1"/>
            <a:r>
              <a:rPr lang="en-US" dirty="0"/>
              <a:t>—</a:t>
            </a:r>
          </a:p>
          <a:p>
            <a:pPr lvl="2"/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Attribution first line</a:t>
            </a:r>
          </a:p>
          <a:p>
            <a:pPr lvl="3"/>
            <a:r>
              <a:rPr lang="en-US" dirty="0"/>
              <a:t>Attribution continued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388101"/>
            <a:ext cx="4035424" cy="4699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sz="1700" dirty="0">
              <a:solidFill>
                <a:srgbClr val="FFFFFF"/>
              </a:solidFill>
            </a:endParaRPr>
          </a:p>
        </p:txBody>
      </p:sp>
      <p:sp>
        <p:nvSpPr>
          <p:cNvPr id="6" name="Content Placeholder 8"/>
          <p:cNvSpPr txBox="1">
            <a:spLocks/>
          </p:cNvSpPr>
          <p:nvPr userDrawn="1"/>
        </p:nvSpPr>
        <p:spPr>
          <a:xfrm>
            <a:off x="457200" y="6418626"/>
            <a:ext cx="385921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dirty="0">
                <a:solidFill>
                  <a:srgbClr val="FFFFFF"/>
                </a:solidFill>
              </a:rPr>
              <a:t>©201</a:t>
            </a:r>
            <a:r>
              <a:rPr lang="en-US" dirty="0">
                <a:solidFill>
                  <a:srgbClr val="FFFFFF"/>
                </a:solidFill>
              </a:rPr>
              <a:t>8</a:t>
            </a:r>
            <a:r>
              <a:rPr lang="tr-TR" dirty="0">
                <a:solidFill>
                  <a:srgbClr val="FFFFFF"/>
                </a:solidFill>
              </a:rPr>
              <a:t> Aetna Inc.</a:t>
            </a:r>
          </a:p>
        </p:txBody>
      </p:sp>
      <p:sp>
        <p:nvSpPr>
          <p:cNvPr id="8" name="Content Placeholder 8"/>
          <p:cNvSpPr txBox="1">
            <a:spLocks/>
          </p:cNvSpPr>
          <p:nvPr userDrawn="1"/>
        </p:nvSpPr>
        <p:spPr>
          <a:xfrm>
            <a:off x="11169232" y="6418626"/>
            <a:ext cx="734302" cy="228600"/>
          </a:xfrm>
          <a:prstGeom prst="rect">
            <a:avLst/>
          </a:prstGeom>
        </p:spPr>
        <p:txBody>
          <a:bodyPr lIns="112316" tIns="56158" rIns="112316" bIns="56158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200" smtClean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200" dirty="0">
              <a:solidFill>
                <a:srgbClr val="FFFFFF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20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" y="6260355"/>
            <a:ext cx="12188824" cy="597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sz="1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0540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7676" y="455613"/>
            <a:ext cx="11295063" cy="5911850"/>
          </a:xfrm>
        </p:spPr>
        <p:txBody>
          <a:bodyPr anchor="ctr"/>
          <a:lstStyle>
            <a:lvl1pPr algn="ctr">
              <a:lnSpc>
                <a:spcPct val="80000"/>
              </a:lnSpc>
              <a:defRPr sz="8800" b="0">
                <a:solidFill>
                  <a:schemeClr val="bg1"/>
                </a:solidFill>
                <a:latin typeface="Domaine Display Bold"/>
                <a:cs typeface="Domaine Display Bold"/>
              </a:defRPr>
            </a:lvl1pPr>
          </a:lstStyle>
          <a:p>
            <a:r>
              <a:rPr lang="en-US" dirty="0"/>
              <a:t>Closing </a:t>
            </a:r>
            <a:br>
              <a:rPr lang="en-US" dirty="0"/>
            </a:br>
            <a:r>
              <a:rPr lang="en-US" dirty="0"/>
              <a:t>slide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5477164" y="6292904"/>
            <a:ext cx="1234501" cy="234860"/>
            <a:chOff x="5518839" y="6290820"/>
            <a:chExt cx="1249434" cy="316852"/>
          </a:xfrm>
          <a:solidFill>
            <a:schemeClr val="bg1"/>
          </a:solidFill>
        </p:grpSpPr>
        <p:sp>
          <p:nvSpPr>
            <p:cNvPr id="6" name="Freeform 5"/>
            <p:cNvSpPr>
              <a:spLocks noEditPoints="1"/>
            </p:cNvSpPr>
            <p:nvPr userDrawn="1"/>
          </p:nvSpPr>
          <p:spPr bwMode="auto">
            <a:xfrm>
              <a:off x="5518839" y="6290820"/>
              <a:ext cx="1167929" cy="316852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6699791" y="6340239"/>
              <a:ext cx="68482" cy="73152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233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0469" y="1464905"/>
            <a:ext cx="5701749" cy="3555610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550438" y="429542"/>
            <a:ext cx="3828054" cy="352779"/>
            <a:chOff x="557784" y="429541"/>
            <a:chExt cx="2871788" cy="352779"/>
          </a:xfrm>
        </p:grpSpPr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786" y="2130386"/>
            <a:ext cx="4168494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785" y="4379002"/>
            <a:ext cx="3582018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601239130"/>
      </p:ext>
    </p:extLst>
  </p:cSld>
  <p:clrMapOvr>
    <a:masterClrMapping/>
  </p:clrMapOvr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786" y="2130386"/>
            <a:ext cx="468172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785" y="4379002"/>
            <a:ext cx="3582018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550438" y="429542"/>
            <a:ext cx="3828054" cy="352779"/>
            <a:chOff x="557784" y="429541"/>
            <a:chExt cx="2871788" cy="352779"/>
          </a:xfrm>
        </p:grpSpPr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725474"/>
      </p:ext>
    </p:extLst>
  </p:cSld>
  <p:clrMapOvr>
    <a:masterClrMapping/>
  </p:clrMapOvr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0C07AEF2-95F8-4407-BBD7-8F517ACF16FE}"/>
              </a:ext>
            </a:extLst>
          </p:cNvPr>
          <p:cNvSpPr txBox="1">
            <a:spLocks/>
          </p:cNvSpPr>
          <p:nvPr/>
        </p:nvSpPr>
        <p:spPr>
          <a:xfrm>
            <a:off x="557784" y="6427484"/>
            <a:ext cx="6858000" cy="228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2019 CVS Health and/or one of its affiliates. Confidential and proprietary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786" y="2130386"/>
            <a:ext cx="468172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785" y="4379002"/>
            <a:ext cx="3582018" cy="1262324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550438" y="429542"/>
            <a:ext cx="3828054" cy="352779"/>
            <a:chOff x="557784" y="429541"/>
            <a:chExt cx="2871788" cy="352779"/>
          </a:xfrm>
          <a:solidFill>
            <a:schemeClr val="bg1"/>
          </a:solidFill>
        </p:grpSpPr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7816578"/>
      </p:ext>
    </p:extLst>
  </p:cSld>
  <p:clrMapOvr>
    <a:masterClrMapping/>
  </p:clrMapOvr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213" y="4634747"/>
            <a:ext cx="10561320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213" y="5578043"/>
            <a:ext cx="10561320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3500" y="6371584"/>
            <a:ext cx="2798064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550438" y="429542"/>
            <a:ext cx="3828054" cy="352779"/>
            <a:chOff x="557784" y="429541"/>
            <a:chExt cx="2871788" cy="352779"/>
          </a:xfrm>
        </p:grpSpPr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4888713"/>
      </p:ext>
    </p:extLst>
  </p:cSld>
  <p:clrMapOvr>
    <a:masterClrMapping/>
  </p:clrMapOvr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/>
        </p:nvSpPr>
        <p:spPr>
          <a:xfrm>
            <a:off x="0" y="4350555"/>
            <a:ext cx="12188825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2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213" y="4634747"/>
            <a:ext cx="10561320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213" y="5578043"/>
            <a:ext cx="10561320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3500" y="6371584"/>
            <a:ext cx="2798064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550438" y="429542"/>
            <a:ext cx="3828054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2412597"/>
      </p:ext>
    </p:extLst>
  </p:cSld>
  <p:clrMapOvr>
    <a:masterClrMapping/>
  </p:clrMapOvr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786" y="2130386"/>
            <a:ext cx="468172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785" y="4379002"/>
            <a:ext cx="3582018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550438" y="429542"/>
            <a:ext cx="3828054" cy="352779"/>
            <a:chOff x="557784" y="429541"/>
            <a:chExt cx="2871788" cy="352779"/>
          </a:xfrm>
        </p:grpSpPr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2244640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857" y="4115993"/>
            <a:ext cx="12188826" cy="2743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72410" y="6173393"/>
            <a:ext cx="2362199" cy="431800"/>
          </a:xfrm>
        </p:spPr>
        <p:txBody>
          <a:bodyPr anchor="b"/>
          <a:lstStyle>
            <a:lvl1pPr>
              <a:defRPr sz="1100" baseline="0">
                <a:solidFill>
                  <a:schemeClr val="accent2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389896" y="6173393"/>
            <a:ext cx="2362199" cy="431800"/>
          </a:xfrm>
        </p:spPr>
        <p:txBody>
          <a:bodyPr anchor="b"/>
          <a:lstStyle>
            <a:lvl1pPr algn="r">
              <a:defRPr sz="1100" baseline="0">
                <a:solidFill>
                  <a:schemeClr val="accent2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487710" y="5639521"/>
            <a:ext cx="5168758" cy="371869"/>
          </a:xfrm>
        </p:spPr>
        <p:txBody>
          <a:bodyPr anchor="t">
            <a:normAutofit/>
          </a:bodyPr>
          <a:lstStyle>
            <a:lvl1pPr marL="0" indent="0" algn="ctr">
              <a:buNone/>
              <a:defRPr sz="1700" b="0" cap="none" spc="0" baseline="0">
                <a:solidFill>
                  <a:schemeClr val="accent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20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1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2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3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4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25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46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6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6236130" y="6319890"/>
            <a:ext cx="1270752" cy="287783"/>
          </a:xfrm>
          <a:solidFill>
            <a:schemeClr val="bg2"/>
          </a:solidFill>
        </p:spPr>
        <p:txBody>
          <a:bodyPr anchor="ctr"/>
          <a:lstStyle>
            <a:lvl1pPr algn="ctr">
              <a:defRPr sz="900" b="1" baseline="0">
                <a:solidFill>
                  <a:schemeClr val="tx1"/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PARTNER LOGO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4719811" y="6314020"/>
            <a:ext cx="1282605" cy="245109"/>
            <a:chOff x="5841888" y="6443197"/>
            <a:chExt cx="528691" cy="134678"/>
          </a:xfrm>
          <a:solidFill>
            <a:schemeClr val="accent2"/>
          </a:solidFill>
        </p:grpSpPr>
        <p:sp>
          <p:nvSpPr>
            <p:cNvPr id="21" name="Freeform 5"/>
            <p:cNvSpPr>
              <a:spLocks noEditPoints="1"/>
            </p:cNvSpPr>
            <p:nvPr userDrawn="1"/>
          </p:nvSpPr>
          <p:spPr bwMode="auto">
            <a:xfrm>
              <a:off x="5841888" y="6443197"/>
              <a:ext cx="496424" cy="134678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6"/>
            <p:cNvSpPr>
              <a:spLocks noChangeAspect="1" noEditPoints="1"/>
            </p:cNvSpPr>
            <p:nvPr userDrawn="1"/>
          </p:nvSpPr>
          <p:spPr bwMode="auto">
            <a:xfrm>
              <a:off x="6346127" y="6468230"/>
              <a:ext cx="24452" cy="26333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24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1"/>
            <a:ext cx="12188825" cy="4348066"/>
          </a:xfrm>
          <a:solidFill>
            <a:schemeClr val="bg2"/>
          </a:solidFill>
        </p:spPr>
        <p:txBody>
          <a:bodyPr anchor="ctr"/>
          <a:lstStyle>
            <a:lvl1pPr algn="ctr">
              <a:defRPr sz="8800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2684562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57214" y="378059"/>
            <a:ext cx="4088928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7785" y="1764792"/>
            <a:ext cx="8586215" cy="4151376"/>
          </a:xfrm>
        </p:spPr>
        <p:txBody>
          <a:bodyPr/>
          <a:lstStyle>
            <a:lvl1pPr>
              <a:spcBef>
                <a:spcPts val="1800"/>
              </a:spcBef>
              <a:spcAft>
                <a:spcPts val="0"/>
              </a:spcAft>
              <a:defRPr sz="18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1778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 baseline="0"/>
            </a:lvl3pPr>
            <a:lvl4pPr marL="342900" indent="-165100">
              <a:spcBef>
                <a:spcPts val="600"/>
              </a:spcBef>
              <a:buFont typeface="Arial" panose="020B0604020202020204" pitchFamily="34" charset="0"/>
              <a:buChar char="–"/>
              <a:defRPr sz="1400" baseline="0"/>
            </a:lvl4pPr>
            <a:lvl5pPr marL="5207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5pPr>
            <a:lvl6pPr marL="685800" indent="-165100">
              <a:spcBef>
                <a:spcPts val="600"/>
              </a:spcBef>
              <a:buFont typeface="Arial" panose="020B0604020202020204" pitchFamily="34" charset="0"/>
              <a:buChar char="–"/>
              <a:defRPr baseline="0"/>
            </a:lvl6pPr>
            <a:lvl7pPr marL="863600" indent="-177800">
              <a:spcBef>
                <a:spcPts val="600"/>
              </a:spcBef>
              <a:buFont typeface="Arial" panose="020B0604020202020204" pitchFamily="34" charset="0"/>
              <a:buChar char="•"/>
              <a:defRPr/>
            </a:lvl7pPr>
            <a:lvl8pPr marL="1028700" indent="-165100">
              <a:spcBef>
                <a:spcPts val="600"/>
              </a:spcBef>
              <a:buFont typeface="Arial" panose="020B0604020202020204" pitchFamily="34" charset="0"/>
              <a:buChar char="–"/>
              <a:defRPr/>
            </a:lvl8pPr>
            <a:lvl9pPr marL="1206500" indent="-177800">
              <a:spcBef>
                <a:spcPts val="600"/>
              </a:spcBef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315463683"/>
      </p:ext>
    </p:extLst>
  </p:cSld>
  <p:clrMapOvr>
    <a:masterClrMapping/>
  </p:clrMapOvr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57214" y="378059"/>
            <a:ext cx="4088928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4" name="Text Placeholder 19">
            <a:extLst>
              <a:ext uri="{FF2B5EF4-FFF2-40B4-BE49-F238E27FC236}">
                <a16:creationId xmlns:a16="http://schemas.microsoft.com/office/drawing/2014/main" id="{CD3DA619-C657-4377-909C-6D3A110F55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3258" y="1765602"/>
            <a:ext cx="3913633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99D62640-4C2F-4EEE-8702-E19D55A971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1452" y="1765602"/>
            <a:ext cx="3911512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710361120"/>
      </p:ext>
    </p:extLst>
  </p:cSld>
  <p:clrMapOvr>
    <a:masterClrMapping/>
  </p:clrMapOvr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7765" y="3022967"/>
            <a:ext cx="7313295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1837061463"/>
      </p:ext>
    </p:extLst>
  </p:cSld>
  <p:clrMapOvr>
    <a:masterClrMapping/>
  </p:clrMapOvr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7765" y="3022967"/>
            <a:ext cx="7313295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4238387500"/>
      </p:ext>
    </p:extLst>
  </p:cSld>
  <p:clrMapOvr>
    <a:masterClrMapping/>
  </p:clrMapOvr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/>
        </p:nvSpPr>
        <p:spPr>
          <a:xfrm>
            <a:off x="0" y="6257926"/>
            <a:ext cx="12188825" cy="600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7765" y="3022967"/>
            <a:ext cx="7313295" cy="812066"/>
          </a:xfrm>
        </p:spPr>
        <p:txBody>
          <a:bodyPr rIns="0" anchor="ctr"/>
          <a:lstStyle>
            <a:lvl1pPr algn="ctr">
              <a:defRPr sz="32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3917109933"/>
      </p:ext>
    </p:extLst>
  </p:cSld>
  <p:clrMapOvr>
    <a:masterClrMapping/>
  </p:clrMapOvr>
  <p:hf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785" y="1767532"/>
            <a:ext cx="8586215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805803435"/>
      </p:ext>
    </p:extLst>
  </p:cSld>
  <p:clrMapOvr>
    <a:masterClrMapping/>
  </p:clrMapOvr>
  <p:hf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966520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785" y="1767532"/>
            <a:ext cx="8586215" cy="3977640"/>
          </a:xfrm>
        </p:spPr>
        <p:txBody>
          <a:bodyPr/>
          <a:lstStyle>
            <a:lvl1pPr>
              <a:buClr>
                <a:schemeClr val="tx1"/>
              </a:buClr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4pPr>
            <a:lvl5pPr marL="571500" indent="-228600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  <a:lvl6pPr marL="74295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914400" indent="-165100">
              <a:buFont typeface="Arial" panose="020B0604020202020204" pitchFamily="34" charset="0"/>
              <a:buChar char="•"/>
              <a:defRPr/>
            </a:lvl7pPr>
            <a:lvl8pPr marL="1092200" indent="-177800">
              <a:buFont typeface="Arial" panose="020B0604020202020204" pitchFamily="34" charset="0"/>
              <a:buChar char="–"/>
              <a:defRPr/>
            </a:lvl8pPr>
            <a:lvl9pPr marL="1257300" indent="-16510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742368502"/>
      </p:ext>
    </p:extLst>
  </p:cSld>
  <p:clrMapOvr>
    <a:masterClrMapping/>
  </p:clrMapOvr>
  <p:hf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966520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wo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785" y="1767532"/>
            <a:ext cx="5237114" cy="397817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6386945" y="1767532"/>
            <a:ext cx="5237114" cy="397817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909846676"/>
      </p:ext>
    </p:extLst>
  </p:cSld>
  <p:clrMapOvr>
    <a:masterClrMapping/>
  </p:clrMapOvr>
  <p:hf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966520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hre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784" y="1764792"/>
            <a:ext cx="3433191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tabLst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375788" y="1764792"/>
            <a:ext cx="3433191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tabLst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8178702" y="1764792"/>
            <a:ext cx="3433191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tabLst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065023576"/>
      </p:ext>
    </p:extLst>
  </p:cSld>
  <p:clrMapOvr>
    <a:masterClrMapping/>
  </p:clrMapOvr>
  <p:hf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966520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our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785" y="1764792"/>
            <a:ext cx="2505455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406875" y="1764792"/>
            <a:ext cx="2505455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6255965" y="1764792"/>
            <a:ext cx="2505455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9105053" y="1764792"/>
            <a:ext cx="2505455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281317117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4114800"/>
            <a:ext cx="12188826" cy="2743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72410" y="6173393"/>
            <a:ext cx="2362199" cy="431800"/>
          </a:xfrm>
        </p:spPr>
        <p:txBody>
          <a:bodyPr anchor="b"/>
          <a:lstStyle>
            <a:lvl1pPr>
              <a:defRPr sz="1100" baseline="0">
                <a:solidFill>
                  <a:srgbClr val="7D3F98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389896" y="6173393"/>
            <a:ext cx="2362199" cy="431800"/>
          </a:xfrm>
        </p:spPr>
        <p:txBody>
          <a:bodyPr anchor="b"/>
          <a:lstStyle>
            <a:lvl1pPr algn="r">
              <a:defRPr sz="1100" baseline="0">
                <a:solidFill>
                  <a:srgbClr val="7D3F98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487710" y="5639521"/>
            <a:ext cx="5168758" cy="371869"/>
          </a:xfrm>
        </p:spPr>
        <p:txBody>
          <a:bodyPr anchor="t">
            <a:normAutofit/>
          </a:bodyPr>
          <a:lstStyle>
            <a:lvl1pPr marL="0" indent="0" algn="ctr">
              <a:buNone/>
              <a:defRPr sz="1700" b="0" cap="none" spc="0" baseline="0">
                <a:solidFill>
                  <a:schemeClr val="accent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20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1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2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3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4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25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46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6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693080" y="6319890"/>
            <a:ext cx="1270752" cy="287783"/>
          </a:xfrm>
          <a:solidFill>
            <a:schemeClr val="bg2"/>
          </a:solidFill>
        </p:spPr>
        <p:txBody>
          <a:bodyPr anchor="ctr"/>
          <a:lstStyle>
            <a:lvl1pPr algn="ctr">
              <a:defRPr sz="900" b="1" baseline="0">
                <a:solidFill>
                  <a:schemeClr val="tx1"/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PARTNER LOGO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6223085" y="6310718"/>
            <a:ext cx="1282605" cy="245109"/>
            <a:chOff x="5841888" y="6443197"/>
            <a:chExt cx="528691" cy="134678"/>
          </a:xfrm>
          <a:solidFill>
            <a:schemeClr val="accent2"/>
          </a:solidFill>
        </p:grpSpPr>
        <p:sp>
          <p:nvSpPr>
            <p:cNvPr id="21" name="Freeform 5"/>
            <p:cNvSpPr>
              <a:spLocks noEditPoints="1"/>
            </p:cNvSpPr>
            <p:nvPr userDrawn="1"/>
          </p:nvSpPr>
          <p:spPr bwMode="auto">
            <a:xfrm>
              <a:off x="5841888" y="6443197"/>
              <a:ext cx="496424" cy="134678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6"/>
            <p:cNvSpPr>
              <a:spLocks noChangeAspect="1" noEditPoints="1"/>
            </p:cNvSpPr>
            <p:nvPr userDrawn="1"/>
          </p:nvSpPr>
          <p:spPr bwMode="auto">
            <a:xfrm>
              <a:off x="6346127" y="6468230"/>
              <a:ext cx="24452" cy="26333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24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1"/>
            <a:ext cx="12188825" cy="4348066"/>
          </a:xfrm>
          <a:solidFill>
            <a:schemeClr val="bg2"/>
          </a:solidFill>
        </p:spPr>
        <p:txBody>
          <a:bodyPr anchor="ctr"/>
          <a:lstStyle>
            <a:lvl1pPr algn="ctr">
              <a:defRPr sz="8800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264372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ntent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966520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ive column journey layou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064665" y="3475038"/>
            <a:ext cx="1673352" cy="227067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152826" y="3475038"/>
            <a:ext cx="1673352" cy="227067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5240989" y="3475038"/>
            <a:ext cx="1673352" cy="227067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7329150" y="3475038"/>
            <a:ext cx="1673352" cy="227067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3" hasCustomPrompt="1"/>
          </p:nvPr>
        </p:nvSpPr>
        <p:spPr bwMode="gray">
          <a:xfrm>
            <a:off x="9417313" y="3475038"/>
            <a:ext cx="1673352" cy="227067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</p:spTree>
    <p:extLst>
      <p:ext uri="{BB962C8B-B14F-4D97-AF65-F5344CB8AC3E}">
        <p14:creationId xmlns:p14="http://schemas.microsoft.com/office/powerpoint/2010/main" val="270351509"/>
      </p:ext>
    </p:extLst>
  </p:cSld>
  <p:clrMapOvr>
    <a:masterClrMapping/>
  </p:clrMapOvr>
  <p:hf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a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layou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69626" y="1752602"/>
            <a:ext cx="9049575" cy="297573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9884663"/>
      </p:ext>
    </p:extLst>
  </p:cSld>
  <p:clrMapOvr>
    <a:masterClrMapping/>
  </p:clrMapOvr>
  <p:hf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with text layou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6496" y="1764793"/>
            <a:ext cx="7172418" cy="297573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783" y="1767531"/>
            <a:ext cx="3438144" cy="297180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None/>
              <a:defRPr baseline="0">
                <a:solidFill>
                  <a:schemeClr val="tx2"/>
                </a:solidFill>
              </a:defRPr>
            </a:lvl2pPr>
            <a:lvl3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6510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4pPr>
            <a:lvl5pPr marL="515938" indent="-173038">
              <a:buClrTx/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6pPr>
            <a:lvl7pPr marL="860425" indent="-173038">
              <a:buClrTx/>
              <a:buFont typeface="Arial" panose="020B0604020202020204" pitchFamily="34" charset="0"/>
              <a:buChar char="•"/>
              <a:defRPr/>
            </a:lvl7pPr>
            <a:lvl8pPr marL="1031875" indent="-171450">
              <a:buClrTx/>
              <a:buFont typeface="Arial" panose="020B0604020202020204" pitchFamily="34" charset="0"/>
              <a:buChar char="–"/>
              <a:defRPr/>
            </a:lvl8pPr>
            <a:lvl9pPr marL="1203325" indent="-171450">
              <a:buClrTx/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874937647"/>
      </p:ext>
    </p:extLst>
  </p:cSld>
  <p:clrMapOvr>
    <a:masterClrMapping/>
  </p:clrMapOvr>
  <p:hf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488289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omparison slide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253148" y="3718012"/>
            <a:ext cx="3493007" cy="2027697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tx2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2pPr>
            <a:lvl3pPr marL="404813" indent="-173038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 marL="977900" indent="-177800">
              <a:buClrTx/>
              <a:defRPr sz="1600"/>
            </a:lvl6pPr>
            <a:lvl7pPr marL="1143000" indent="-165100">
              <a:buClrTx/>
              <a:defRPr sz="1600"/>
            </a:lvl7pPr>
            <a:lvl8pPr marL="1320800" indent="-177800"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7378376" y="3718012"/>
            <a:ext cx="3493007" cy="2027697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bg1"/>
                </a:solidFill>
              </a:defRPr>
            </a:lvl2pPr>
            <a:lvl3pPr marL="231775" indent="0">
              <a:spcBef>
                <a:spcPts val="600"/>
              </a:spcBef>
              <a:buClrTx/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4F02B14-26DC-47C5-BE74-75AB1C1533A3}"/>
              </a:ext>
            </a:extLst>
          </p:cNvPr>
          <p:cNvGrpSpPr>
            <a:grpSpLocks noChangeAspect="1"/>
          </p:cNvGrpSpPr>
          <p:nvPr/>
        </p:nvGrpSpPr>
        <p:grpSpPr>
          <a:xfrm>
            <a:off x="9921261" y="6373316"/>
            <a:ext cx="1705129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14" name="Freeform 4">
              <a:extLst>
                <a:ext uri="{FF2B5EF4-FFF2-40B4-BE49-F238E27FC236}">
                  <a16:creationId xmlns:a16="http://schemas.microsoft.com/office/drawing/2014/main" id="{C03C60BD-E208-4793-B163-0391E0673C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AC11C27-7E62-4B31-9680-B59D24D0A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FA0788F6-B4B0-4834-AFB4-98F21B43F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F754B0DD-7999-4250-A4C0-0C3C1406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50CBFC8A-B083-42B9-9504-2364FACEC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3EDE8E81-9781-4645-9DFD-79E2B61F7D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1196329"/>
      </p:ext>
    </p:extLst>
  </p:cSld>
  <p:clrMapOvr>
    <a:masterClrMapping/>
  </p:clrMapOvr>
  <p:hf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CFACB8A6-3813-48D2-B8CE-038DD1E42B32}"/>
              </a:ext>
            </a:extLst>
          </p:cNvPr>
          <p:cNvSpPr/>
          <p:nvPr/>
        </p:nvSpPr>
        <p:spPr>
          <a:xfrm>
            <a:off x="218662" y="6241774"/>
            <a:ext cx="5585792" cy="6162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5FE79D5-35B2-49F2-B15D-DA1A165F3786}"/>
              </a:ext>
            </a:extLst>
          </p:cNvPr>
          <p:cNvSpPr/>
          <p:nvPr/>
        </p:nvSpPr>
        <p:spPr>
          <a:xfrm>
            <a:off x="4061837" y="0"/>
            <a:ext cx="405709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8E372-A3D9-43BC-A3BE-4011C8DA5B98}"/>
              </a:ext>
            </a:extLst>
          </p:cNvPr>
          <p:cNvSpPr/>
          <p:nvPr/>
        </p:nvSpPr>
        <p:spPr>
          <a:xfrm>
            <a:off x="8118933" y="0"/>
            <a:ext cx="406989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80785A3E-DA24-410F-9CAE-7070C42B58B4}"/>
              </a:ext>
            </a:extLst>
          </p:cNvPr>
          <p:cNvSpPr txBox="1">
            <a:spLocks/>
          </p:cNvSpPr>
          <p:nvPr/>
        </p:nvSpPr>
        <p:spPr>
          <a:xfrm>
            <a:off x="557784" y="6376946"/>
            <a:ext cx="352367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62BE1DE7-64C2-4B16-AD38-1C91E86AECEB}"/>
              </a:ext>
            </a:extLst>
          </p:cNvPr>
          <p:cNvSpPr txBox="1">
            <a:spLocks/>
          </p:cNvSpPr>
          <p:nvPr/>
        </p:nvSpPr>
        <p:spPr>
          <a:xfrm>
            <a:off x="859536" y="6376946"/>
            <a:ext cx="464353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846771" y="3148862"/>
            <a:ext cx="2368296" cy="2596847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dirty="0">
                <a:solidFill>
                  <a:schemeClr val="tx2"/>
                </a:solidFill>
              </a:defRPr>
            </a:lvl5pPr>
            <a:lvl6pPr>
              <a:buClrTx/>
              <a:defRPr sz="1600"/>
            </a:lvl6pPr>
            <a:lvl7pPr>
              <a:buClrTx/>
              <a:defRPr sz="1600"/>
            </a:lvl7pPr>
            <a:lvl8pPr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" hasCustomPrompt="1"/>
          </p:nvPr>
        </p:nvSpPr>
        <p:spPr bwMode="gray">
          <a:xfrm>
            <a:off x="4906236" y="3148862"/>
            <a:ext cx="2368296" cy="2596847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baseline="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baseline="0" dirty="0">
                <a:solidFill>
                  <a:schemeClr val="tx2"/>
                </a:solidFill>
              </a:defRPr>
            </a:lvl5pPr>
            <a:lvl6pPr>
              <a:buClrTx/>
              <a:defRPr sz="1600" baseline="0">
                <a:solidFill>
                  <a:schemeClr val="tx2"/>
                </a:solidFill>
              </a:defRPr>
            </a:lvl6pPr>
            <a:lvl7pPr>
              <a:buClrTx/>
              <a:defRPr sz="1600" baseline="0">
                <a:solidFill>
                  <a:schemeClr val="tx2"/>
                </a:solidFill>
              </a:defRPr>
            </a:lvl7pPr>
            <a:lvl8pPr>
              <a:buClrTx/>
              <a:defRPr sz="1600" baseline="0">
                <a:solidFill>
                  <a:schemeClr val="tx2"/>
                </a:solidFill>
              </a:defRPr>
            </a:lvl8pPr>
            <a:lvl9pPr>
              <a:buClrTx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18" hasCustomPrompt="1"/>
          </p:nvPr>
        </p:nvSpPr>
        <p:spPr bwMode="gray">
          <a:xfrm>
            <a:off x="8969730" y="3148862"/>
            <a:ext cx="2368296" cy="2596847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bg1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bg1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bg1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bg1"/>
                </a:solidFill>
              </a:defRPr>
            </a:lvl4pPr>
            <a:lvl5pPr>
              <a:buClrTx/>
              <a:defRPr lang="en-US" sz="1600" baseline="0" dirty="0">
                <a:solidFill>
                  <a:schemeClr val="bg1"/>
                </a:solidFill>
              </a:defRPr>
            </a:lvl5pPr>
            <a:lvl6pPr>
              <a:buClrTx/>
              <a:defRPr sz="1600" baseline="0">
                <a:solidFill>
                  <a:schemeClr val="bg1"/>
                </a:solidFill>
              </a:defRPr>
            </a:lvl6pPr>
            <a:lvl7pPr>
              <a:buClrTx/>
              <a:defRPr sz="1600">
                <a:solidFill>
                  <a:schemeClr val="bg1"/>
                </a:solidFill>
              </a:defRPr>
            </a:lvl7pPr>
            <a:lvl8pPr>
              <a:buClrTx/>
              <a:defRPr sz="1600" baseline="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4F02B14-26DC-47C5-BE74-75AB1C1533A3}"/>
              </a:ext>
            </a:extLst>
          </p:cNvPr>
          <p:cNvGrpSpPr>
            <a:grpSpLocks noChangeAspect="1"/>
          </p:cNvGrpSpPr>
          <p:nvPr/>
        </p:nvGrpSpPr>
        <p:grpSpPr>
          <a:xfrm>
            <a:off x="9921261" y="6373316"/>
            <a:ext cx="1705129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1" name="Freeform 4">
              <a:extLst>
                <a:ext uri="{FF2B5EF4-FFF2-40B4-BE49-F238E27FC236}">
                  <a16:creationId xmlns:a16="http://schemas.microsoft.com/office/drawing/2014/main" id="{C03C60BD-E208-4793-B163-0391E0673C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AC11C27-7E62-4B31-9680-B59D24D0A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FA0788F6-B4B0-4834-AFB4-98F21B43F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F754B0DD-7999-4250-A4C0-0C3C1406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50CBFC8A-B083-42B9-9504-2364FACEC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3EDE8E81-9781-4645-9DFD-79E2B61F7D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65820972"/>
      </p:ext>
    </p:extLst>
  </p:cSld>
  <p:clrMapOvr>
    <a:masterClrMapping/>
  </p:clrMapOvr>
  <p:hf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488289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784" y="1765300"/>
            <a:ext cx="4882896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125309"/>
      </p:ext>
    </p:extLst>
  </p:cSld>
  <p:clrMapOvr>
    <a:masterClrMapping/>
  </p:clrMapOvr>
  <p:hf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" y="0"/>
            <a:ext cx="6094413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31836" y="530351"/>
            <a:ext cx="50104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</a:t>
            </a:r>
            <a:br>
              <a:rPr lang="en-US" dirty="0"/>
            </a:br>
            <a:r>
              <a:rPr lang="en-US" dirty="0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738938" y="1765300"/>
            <a:ext cx="4882896" cy="3977640"/>
          </a:xfrm>
        </p:spPr>
        <p:txBody>
          <a:bodyPr/>
          <a:lstStyle>
            <a:lvl1pPr>
              <a:buClrTx/>
              <a:defRPr cap="none" baseline="0">
                <a:solidFill>
                  <a:schemeClr val="tx2"/>
                </a:solidFill>
              </a:defRPr>
            </a:lvl1pPr>
            <a:lvl2pPr>
              <a:buClrTx/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  <a:lvl6pPr>
              <a:buClrTx/>
              <a:defRPr/>
            </a:lvl6pPr>
            <a:lvl7pPr>
              <a:buClrTx/>
              <a:defRPr/>
            </a:lvl7pPr>
            <a:lvl8pPr>
              <a:buClrTx/>
              <a:defRPr/>
            </a:lvl8pPr>
            <a:lvl9pPr>
              <a:buClrTx/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21842514"/>
      </p:ext>
    </p:extLst>
  </p:cSld>
  <p:clrMapOvr>
    <a:masterClrMapping/>
  </p:clrMapOvr>
  <p:hf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nfo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4" y="530351"/>
            <a:ext cx="488289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 and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784" y="1767532"/>
            <a:ext cx="4882896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4F02B14-26DC-47C5-BE74-75AB1C1533A3}"/>
              </a:ext>
            </a:extLst>
          </p:cNvPr>
          <p:cNvGrpSpPr>
            <a:grpSpLocks noChangeAspect="1"/>
          </p:cNvGrpSpPr>
          <p:nvPr/>
        </p:nvGrpSpPr>
        <p:grpSpPr>
          <a:xfrm>
            <a:off x="9921261" y="6373316"/>
            <a:ext cx="1705129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17" name="Freeform 4">
              <a:extLst>
                <a:ext uri="{FF2B5EF4-FFF2-40B4-BE49-F238E27FC236}">
                  <a16:creationId xmlns:a16="http://schemas.microsoft.com/office/drawing/2014/main" id="{C03C60BD-E208-4793-B163-0391E0673C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EAC11C27-7E62-4B31-9680-B59D24D0A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FA0788F6-B4B0-4834-AFB4-98F21B43F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F754B0DD-7999-4250-A4C0-0C3C1406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50CBFC8A-B083-42B9-9504-2364FACEC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3EDE8E81-9781-4645-9DFD-79E2B61F7D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6490909"/>
      </p:ext>
    </p:extLst>
  </p:cSld>
  <p:clrMapOvr>
    <a:masterClrMapping/>
  </p:clrMapOvr>
  <p:hf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nfo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31836" y="530351"/>
            <a:ext cx="488289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 and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738938" y="1765300"/>
            <a:ext cx="4882896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0" y="0"/>
            <a:ext cx="609441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/>
        </p:nvSpPr>
        <p:spPr>
          <a:xfrm>
            <a:off x="557784" y="6376946"/>
            <a:ext cx="352367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/>
        </p:nvSpPr>
        <p:spPr>
          <a:xfrm>
            <a:off x="859536" y="6376946"/>
            <a:ext cx="4969378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910593635"/>
      </p:ext>
    </p:extLst>
  </p:cSld>
  <p:clrMapOvr>
    <a:masterClrMapping/>
  </p:clrMapOvr>
  <p:hf hdr="0" ft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high impac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783" y="1764792"/>
            <a:ext cx="4945289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 with image. Image should reflect the content of the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7784" y="3590383"/>
            <a:ext cx="4933222" cy="184912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2808257670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2" y="455614"/>
            <a:ext cx="11274425" cy="5932487"/>
          </a:xfrm>
        </p:spPr>
        <p:txBody>
          <a:bodyPr anchor="ctr" anchorCtr="1"/>
          <a:lstStyle>
            <a:lvl1pPr marL="0" indent="0" algn="ctr">
              <a:buFontTx/>
              <a:buNone/>
              <a:tabLst>
                <a:tab pos="1476095" algn="l"/>
              </a:tabLst>
              <a:defRPr sz="8800" b="0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  <a:lvl2pPr marL="0" indent="0" algn="ctr">
              <a:spcBef>
                <a:spcPts val="2211"/>
              </a:spcBef>
              <a:buFontTx/>
              <a:buNone/>
              <a:tabLst>
                <a:tab pos="1476095" algn="l"/>
              </a:tabLst>
              <a:defRPr sz="1700" b="0" i="0">
                <a:solidFill>
                  <a:schemeClr val="bg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0" indent="0" algn="ctr">
              <a:buFontTx/>
              <a:buNone/>
              <a:tabLst>
                <a:tab pos="1476095" algn="l"/>
              </a:tabLst>
              <a:defRPr sz="2500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tabLst>
                <a:tab pos="1476095" algn="l"/>
              </a:tabLst>
              <a:defRPr sz="2500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tabLst>
                <a:tab pos="1476095" algn="l"/>
              </a:tabLst>
              <a:defRPr sz="2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52303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hig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213" y="2180108"/>
            <a:ext cx="7168897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214" y="4020923"/>
            <a:ext cx="4572000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2973863280"/>
      </p:ext>
    </p:extLst>
  </p:cSld>
  <p:clrMapOvr>
    <a:masterClrMapping/>
  </p:clrMapOvr>
  <p:hf hdr="0" ft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high impact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-1" y="0"/>
            <a:ext cx="1218882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/>
        </p:nvSpPr>
        <p:spPr>
          <a:xfrm>
            <a:off x="557784" y="6376946"/>
            <a:ext cx="352367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/>
        </p:nvSpPr>
        <p:spPr>
          <a:xfrm>
            <a:off x="859537" y="6376946"/>
            <a:ext cx="481249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213" y="2180108"/>
            <a:ext cx="7168897" cy="146304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214" y="4020923"/>
            <a:ext cx="4572000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4F02B14-26DC-47C5-BE74-75AB1C1533A3}"/>
              </a:ext>
            </a:extLst>
          </p:cNvPr>
          <p:cNvGrpSpPr>
            <a:grpSpLocks noChangeAspect="1"/>
          </p:cNvGrpSpPr>
          <p:nvPr/>
        </p:nvGrpSpPr>
        <p:grpSpPr>
          <a:xfrm>
            <a:off x="9921261" y="6373316"/>
            <a:ext cx="1705129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16" name="Freeform 4">
              <a:extLst>
                <a:ext uri="{FF2B5EF4-FFF2-40B4-BE49-F238E27FC236}">
                  <a16:creationId xmlns:a16="http://schemas.microsoft.com/office/drawing/2014/main" id="{C03C60BD-E208-4793-B163-0391E0673C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AC11C27-7E62-4B31-9680-B59D24D0A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FA0788F6-B4B0-4834-AFB4-98F21B43F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F754B0DD-7999-4250-A4C0-0C3C1406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50CBFC8A-B083-42B9-9504-2364FACEC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EDE8E81-9781-4645-9DFD-79E2B61F7D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526672"/>
      </p:ext>
    </p:extLst>
  </p:cSld>
  <p:clrMapOvr>
    <a:masterClrMapping/>
  </p:clrMapOvr>
  <p:hf hdr="0" ft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03888" y="378059"/>
            <a:ext cx="5561335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Next step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970124" y="2054488"/>
            <a:ext cx="2505455" cy="36912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algn="l">
              <a:buClrTx/>
              <a:defRPr/>
            </a:lvl7pPr>
            <a:lvl8pPr algn="l">
              <a:buClrTx/>
              <a:defRPr/>
            </a:lvl8pPr>
            <a:lvl9pPr algn="l">
              <a:buClrTx/>
              <a:defRPr/>
            </a:lvl9pPr>
          </a:lstStyle>
          <a:p>
            <a:pPr lvl="0"/>
            <a:r>
              <a:rPr lang="en-US" dirty="0"/>
              <a:t>1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 bwMode="gray">
          <a:xfrm>
            <a:off x="4818195" y="2054488"/>
            <a:ext cx="2505455" cy="36912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baseline="0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algn="l">
              <a:buClrTx/>
              <a:defRPr/>
            </a:lvl7pPr>
            <a:lvl8pPr algn="l">
              <a:buClrTx/>
              <a:defRPr/>
            </a:lvl8pPr>
            <a:lvl9pPr algn="l">
              <a:buClrTx/>
              <a:defRPr/>
            </a:lvl9pPr>
          </a:lstStyle>
          <a:p>
            <a:pPr lvl="0"/>
            <a:r>
              <a:rPr lang="en-US" dirty="0"/>
              <a:t>2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8" hasCustomPrompt="1"/>
          </p:nvPr>
        </p:nvSpPr>
        <p:spPr bwMode="gray">
          <a:xfrm>
            <a:off x="7666267" y="2054488"/>
            <a:ext cx="2505455" cy="36912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5100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algn="l">
              <a:buClrTx/>
              <a:defRPr/>
            </a:lvl7pPr>
            <a:lvl8pPr algn="l">
              <a:buClrTx/>
              <a:defRPr/>
            </a:lvl8pPr>
            <a:lvl9pPr algn="l">
              <a:buClrTx/>
              <a:defRPr/>
            </a:lvl9pPr>
          </a:lstStyle>
          <a:p>
            <a:pPr lvl="0"/>
            <a:r>
              <a:rPr lang="en-US" dirty="0"/>
              <a:t>3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014739735"/>
      </p:ext>
    </p:extLst>
  </p:cSld>
  <p:clrMapOvr>
    <a:masterClrMapping/>
  </p:clrMapOvr>
  <p:hf hdr="0" ft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499743" y="378059"/>
            <a:ext cx="4088928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In closing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785" y="1767532"/>
            <a:ext cx="8586215" cy="397764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FontTx/>
              <a:buNone/>
              <a:defRPr baseline="0">
                <a:solidFill>
                  <a:schemeClr val="tx2"/>
                </a:solidFill>
              </a:defRPr>
            </a:lvl2pPr>
            <a:lvl3pPr marL="173038" indent="-173038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3pPr>
            <a:lvl4pPr marL="347663" indent="-174625">
              <a:buClrTx/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4pPr>
            <a:lvl5pPr marL="509588" indent="-161925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5pPr>
            <a:lvl6pPr marL="682625" indent="-173038">
              <a:buClrTx/>
              <a:buFont typeface="Arial" panose="020B0604020202020204" pitchFamily="34" charset="0"/>
              <a:buChar char="–"/>
              <a:defRPr/>
            </a:lvl6pPr>
            <a:lvl7pPr marL="857250" indent="-174625">
              <a:buClrTx/>
              <a:buFont typeface="Arial" panose="020B0604020202020204" pitchFamily="34" charset="0"/>
              <a:buChar char="•"/>
              <a:defRPr/>
            </a:lvl7pPr>
            <a:lvl8pPr marL="1030288" indent="-173038">
              <a:buClrTx/>
              <a:buFont typeface="Arial" panose="020B0604020202020204" pitchFamily="34" charset="0"/>
              <a:buChar char="–"/>
              <a:defRPr/>
            </a:lvl8pPr>
            <a:lvl9pPr marL="1203325" indent="-173038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34557113"/>
      </p:ext>
    </p:extLst>
  </p:cSld>
  <p:clrMapOvr>
    <a:masterClrMapping/>
  </p:clrMapOvr>
  <p:hf hdr="0" ft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24368845"/>
      </p:ext>
    </p:extLst>
  </p:cSld>
  <p:clrMapOvr>
    <a:masterClrMapping/>
  </p:clrMapOvr>
  <p:hf hdr="0" ft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-1" y="0"/>
            <a:ext cx="1218882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/>
        </p:nvSpPr>
        <p:spPr>
          <a:xfrm>
            <a:off x="557784" y="6376946"/>
            <a:ext cx="352367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/>
        </p:nvSpPr>
        <p:spPr>
          <a:xfrm>
            <a:off x="859537" y="6376946"/>
            <a:ext cx="4764219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4F02B14-26DC-47C5-BE74-75AB1C1533A3}"/>
              </a:ext>
            </a:extLst>
          </p:cNvPr>
          <p:cNvGrpSpPr>
            <a:grpSpLocks noChangeAspect="1"/>
          </p:cNvGrpSpPr>
          <p:nvPr/>
        </p:nvGrpSpPr>
        <p:grpSpPr>
          <a:xfrm>
            <a:off x="9921261" y="6373316"/>
            <a:ext cx="1705129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14" name="Freeform 4">
              <a:extLst>
                <a:ext uri="{FF2B5EF4-FFF2-40B4-BE49-F238E27FC236}">
                  <a16:creationId xmlns:a16="http://schemas.microsoft.com/office/drawing/2014/main" id="{C03C60BD-E208-4793-B163-0391E0673C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EAC11C27-7E62-4B31-9680-B59D24D0A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FA0788F6-B4B0-4834-AFB4-98F21B43F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F754B0DD-7999-4250-A4C0-0C3C1406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50CBFC8A-B083-42B9-9504-2364FACEC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3EDE8E81-9781-4645-9DFD-79E2B61F7D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1133564"/>
      </p:ext>
    </p:extLst>
  </p:cSld>
  <p:clrMapOvr>
    <a:masterClrMapping/>
  </p:clrMapOvr>
  <p:hf hdr="0" ft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0703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437765" y="2760019"/>
            <a:ext cx="7313295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5400" b="1" dirty="0">
                <a:solidFill>
                  <a:schemeClr val="accent2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998131454"/>
      </p:ext>
    </p:extLst>
  </p:cSld>
  <p:clrMapOvr>
    <a:masterClrMapping/>
  </p:clrMapOvr>
  <p:hf hdr="0" ft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AD57F1C3-026C-4E29-99D9-D207AB9AE8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r>
              <a:rPr lang="en-US" dirty="0"/>
              <a:t>BE SURE IMAGE IS </a:t>
            </a:r>
            <a:br>
              <a:rPr lang="en-US" dirty="0"/>
            </a:br>
            <a:r>
              <a:rPr lang="en-US" dirty="0"/>
              <a:t>DARK ENOUGH SO TYPE AND </a:t>
            </a:r>
            <a:br>
              <a:rPr lang="en-US" dirty="0"/>
            </a:br>
            <a:r>
              <a:rPr lang="en-US" dirty="0"/>
              <a:t>LOGO ARE READABLE</a:t>
            </a:r>
          </a:p>
          <a:p>
            <a:br>
              <a:rPr lang="en-US" dirty="0"/>
            </a:br>
            <a:r>
              <a:rPr lang="en-US" dirty="0"/>
              <a:t>CLICK ICON TO ADD IMAGE</a:t>
            </a:r>
            <a:br>
              <a:rPr lang="en-US" dirty="0"/>
            </a:br>
            <a:r>
              <a:rPr lang="en-US" dirty="0"/>
              <a:t>Be sure to send image to </a:t>
            </a:r>
            <a:br>
              <a:rPr lang="en-US" dirty="0"/>
            </a:br>
            <a:r>
              <a:rPr lang="en-US" dirty="0"/>
              <a:t>back so logo sits on top of 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844951" y="1196075"/>
            <a:ext cx="4694328" cy="1444752"/>
          </a:xfrm>
        </p:spPr>
        <p:txBody>
          <a:bodyPr/>
          <a:lstStyle>
            <a:lvl1pPr algn="l">
              <a:lnSpc>
                <a:spcPct val="80000"/>
              </a:lnSpc>
              <a:spcBef>
                <a:spcPts val="0"/>
              </a:spcBef>
              <a:defRPr sz="5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osing slide</a:t>
            </a:r>
          </a:p>
        </p:txBody>
      </p:sp>
    </p:spTree>
    <p:extLst>
      <p:ext uri="{BB962C8B-B14F-4D97-AF65-F5344CB8AC3E}">
        <p14:creationId xmlns:p14="http://schemas.microsoft.com/office/powerpoint/2010/main" val="2956909429"/>
      </p:ext>
    </p:extLst>
  </p:cSld>
  <p:clrMapOvr>
    <a:masterClrMapping/>
  </p:clrMapOvr>
  <p:hf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S logo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/>
        </p:nvGrpSpPr>
        <p:grpSpPr>
          <a:xfrm>
            <a:off x="2380748" y="2996233"/>
            <a:ext cx="7427329" cy="684474"/>
            <a:chOff x="2825581" y="3027447"/>
            <a:chExt cx="6537663" cy="803106"/>
          </a:xfrm>
        </p:grpSpPr>
        <p:sp>
          <p:nvSpPr>
            <p:cNvPr id="20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3520" y="3050215"/>
              <a:ext cx="3134808" cy="775163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0439" y="3027447"/>
              <a:ext cx="671671" cy="803106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2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9141" y="3027447"/>
              <a:ext cx="748256" cy="803106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5651" y="3050215"/>
              <a:ext cx="746186" cy="758604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5581" y="3027447"/>
              <a:ext cx="978011" cy="803106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1109" y="3657720"/>
              <a:ext cx="152135" cy="156275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/>
        </p:nvSpPr>
        <p:spPr>
          <a:xfrm>
            <a:off x="0" y="5779008"/>
            <a:ext cx="12188825" cy="10789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b="1" dirty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838525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6610" y="320040"/>
            <a:ext cx="9491462" cy="731610"/>
          </a:xfrm>
        </p:spPr>
        <p:txBody>
          <a:bodyPr anchor="ctr"/>
          <a:lstStyle>
            <a:lvl1pPr>
              <a:defRPr sz="2900"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26610" y="1330325"/>
            <a:ext cx="9480978" cy="4846320"/>
          </a:xfrm>
        </p:spPr>
        <p:txBody>
          <a:bodyPr/>
          <a:lstStyle>
            <a:lvl1pPr>
              <a:spcBef>
                <a:spcPts val="1474"/>
              </a:spcBef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 dirty="0"/>
              <a:t>First-level</a:t>
            </a:r>
          </a:p>
          <a:p>
            <a:pPr lvl="1"/>
            <a:r>
              <a:rPr lang="en-US" dirty="0"/>
              <a:t>Second-level</a:t>
            </a:r>
          </a:p>
          <a:p>
            <a:pPr lvl="2"/>
            <a:r>
              <a:rPr lang="en-US" dirty="0"/>
              <a:t>Third-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26609" y="1051560"/>
            <a:ext cx="1133264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6164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S logo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2380748" y="2996233"/>
            <a:ext cx="7427329" cy="684474"/>
            <a:chOff x="2825581" y="3027447"/>
            <a:chExt cx="6537663" cy="803106"/>
          </a:xfrm>
          <a:solidFill>
            <a:schemeClr val="bg1"/>
          </a:solidFill>
        </p:grpSpPr>
        <p:sp>
          <p:nvSpPr>
            <p:cNvPr id="12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3520" y="3050215"/>
              <a:ext cx="3134808" cy="775163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3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0439" y="3027447"/>
              <a:ext cx="671671" cy="803106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4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9141" y="3027447"/>
              <a:ext cx="748256" cy="803106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5651" y="3050215"/>
              <a:ext cx="746186" cy="758604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5581" y="3027447"/>
              <a:ext cx="978011" cy="803106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1109" y="3657720"/>
              <a:ext cx="152135" cy="156275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705331"/>
      </p:ext>
    </p:extLst>
  </p:cSld>
  <p:clrMapOvr>
    <a:masterClrMapping/>
  </p:clrMapOvr>
  <p:hf hdr="0" ft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A | Prefer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1" y="4114800"/>
            <a:ext cx="12188826" cy="274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316" tIns="56158" rIns="112316" bIns="5615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2"/>
            <a:ext cx="12188825" cy="4350553"/>
          </a:xfrm>
          <a:solidFill>
            <a:schemeClr val="bg2"/>
          </a:solidFill>
        </p:spPr>
        <p:txBody>
          <a:bodyPr anchor="ctr"/>
          <a:lstStyle>
            <a:lvl1pPr algn="ctr">
              <a:lnSpc>
                <a:spcPct val="80000"/>
              </a:lnSpc>
              <a:defRPr sz="8800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  <a:br>
              <a:rPr lang="en-US" dirty="0"/>
            </a:br>
            <a:r>
              <a:rPr lang="en-US" dirty="0"/>
              <a:t>with Aetna logo 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701844" y="4548186"/>
            <a:ext cx="6794350" cy="1215588"/>
          </a:xfrm>
        </p:spPr>
        <p:txBody>
          <a:bodyPr anchor="b"/>
          <a:lstStyle>
            <a:lvl1pPr algn="ctr">
              <a:lnSpc>
                <a:spcPct val="80000"/>
              </a:lnSpc>
              <a:defRPr sz="5400" b="0" i="0" cap="none" baseline="0">
                <a:solidFill>
                  <a:srgbClr val="FFFFFF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72410" y="6173393"/>
            <a:ext cx="2362199" cy="431800"/>
          </a:xfrm>
        </p:spPr>
        <p:txBody>
          <a:bodyPr anchor="b"/>
          <a:lstStyle>
            <a:lvl1pPr>
              <a:defRPr sz="11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noProof="0" dirty="0"/>
              <a:t>Presenter Nam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389896" y="6173393"/>
            <a:ext cx="2362199" cy="431800"/>
          </a:xfrm>
        </p:spPr>
        <p:txBody>
          <a:bodyPr anchor="b"/>
          <a:lstStyle>
            <a:lvl1pPr algn="r">
              <a:defRPr sz="11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02123" y="5821809"/>
            <a:ext cx="5193792" cy="335328"/>
          </a:xfrm>
        </p:spPr>
        <p:txBody>
          <a:bodyPr anchor="t">
            <a:normAutofit/>
          </a:bodyPr>
          <a:lstStyle>
            <a:lvl1pPr marL="0" indent="0" algn="ctr">
              <a:buNone/>
              <a:defRPr sz="1700" b="0" cap="none" spc="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20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1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2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3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4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25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46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6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1951025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224" y="320040"/>
            <a:ext cx="9494848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26609" y="1051560"/>
            <a:ext cx="1133264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3830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6610" y="320040"/>
            <a:ext cx="9491462" cy="731610"/>
          </a:xfrm>
        </p:spPr>
        <p:txBody>
          <a:bodyPr anchor="ctr"/>
          <a:lstStyle>
            <a:lvl1pPr>
              <a:defRPr sz="2900"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26610" y="1330325"/>
            <a:ext cx="9480978" cy="4846320"/>
          </a:xfrm>
        </p:spPr>
        <p:txBody>
          <a:bodyPr/>
          <a:lstStyle>
            <a:lvl1pPr>
              <a:spcBef>
                <a:spcPts val="1474"/>
              </a:spcBef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 dirty="0"/>
              <a:t>First-level</a:t>
            </a:r>
          </a:p>
          <a:p>
            <a:pPr lvl="1"/>
            <a:r>
              <a:rPr lang="en-US" dirty="0"/>
              <a:t>Second-level</a:t>
            </a:r>
          </a:p>
          <a:p>
            <a:pPr lvl="2"/>
            <a:r>
              <a:rPr lang="en-US" dirty="0"/>
              <a:t>Third-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26609" y="1051560"/>
            <a:ext cx="1133264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3069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786" y="2130386"/>
            <a:ext cx="468172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557784" y="429541"/>
            <a:ext cx="2871788" cy="352779"/>
            <a:chOff x="557784" y="429541"/>
            <a:chExt cx="2871788" cy="352779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pic>
        <p:nvPicPr>
          <p:cNvPr id="21" name="Pictur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3561" y="1016178"/>
            <a:ext cx="5221110" cy="4340047"/>
          </a:xfrm>
          <a:prstGeom prst="rect">
            <a:avLst/>
          </a:prstGeom>
        </p:spPr>
      </p:pic>
      <p:sp>
        <p:nvSpPr>
          <p:cNvPr id="2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784" y="4379002"/>
            <a:ext cx="3582017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28708986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786" y="2130386"/>
            <a:ext cx="468172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557784" y="429541"/>
            <a:ext cx="2871788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784" y="4379002"/>
            <a:ext cx="3582017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18451902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0C07AEF2-95F8-4407-BBD7-8F517ACF16FE}"/>
              </a:ext>
            </a:extLst>
          </p:cNvPr>
          <p:cNvSpPr txBox="1">
            <a:spLocks/>
          </p:cNvSpPr>
          <p:nvPr/>
        </p:nvSpPr>
        <p:spPr>
          <a:xfrm>
            <a:off x="557784" y="6427484"/>
            <a:ext cx="6858000" cy="228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2019 CVS Health and/or one of its affiliates. Confidential and proprietary.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F8C4FD8-0AA8-4037-BC71-BA96D0AF218E}"/>
              </a:ext>
            </a:extLst>
          </p:cNvPr>
          <p:cNvGrpSpPr>
            <a:grpSpLocks noChangeAspect="1"/>
          </p:cNvGrpSpPr>
          <p:nvPr/>
        </p:nvGrpSpPr>
        <p:grpSpPr>
          <a:xfrm>
            <a:off x="557784" y="429541"/>
            <a:ext cx="2871788" cy="352779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B3EB7105-6A46-491C-B241-A8F9129575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D958FC95-7F0F-491F-8DC3-06F8BACBF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60CEC3B9-4063-48FC-90DC-4CDE63069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ACB778AF-4452-4D00-A46E-1FA80ABA89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52616A00-1107-4114-9319-20AF55350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9" name="Freeform 12">
              <a:extLst>
                <a:ext uri="{FF2B5EF4-FFF2-40B4-BE49-F238E27FC236}">
                  <a16:creationId xmlns:a16="http://schemas.microsoft.com/office/drawing/2014/main" id="{7C96DD26-9A69-4431-91BB-3F67E41B5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786" y="2130386"/>
            <a:ext cx="468172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784" y="4379002"/>
            <a:ext cx="3582017" cy="1262324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22830720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212" y="4634747"/>
            <a:ext cx="10561320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212" y="5578043"/>
            <a:ext cx="10561320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3499" y="6371584"/>
            <a:ext cx="2798064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557784" y="429541"/>
            <a:ext cx="2871788" cy="352779"/>
            <a:chOff x="557784" y="429541"/>
            <a:chExt cx="2871788" cy="352779"/>
          </a:xfrm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660436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/>
        </p:nvSpPr>
        <p:spPr>
          <a:xfrm>
            <a:off x="0" y="4350553"/>
            <a:ext cx="12188825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212" y="4634747"/>
            <a:ext cx="10561320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212" y="5578043"/>
            <a:ext cx="10561320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3499" y="6371584"/>
            <a:ext cx="2798064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57784" y="429541"/>
            <a:ext cx="2871788" cy="352779"/>
            <a:chOff x="557784" y="429541"/>
            <a:chExt cx="2871788" cy="352779"/>
          </a:xfrm>
        </p:grpSpPr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111133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786" y="2130386"/>
            <a:ext cx="468172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557784" y="429541"/>
            <a:ext cx="2871788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784" y="4379002"/>
            <a:ext cx="3582017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2059562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slideLayout" Target="../slideLayouts/slideLayout79.xml"/><Relationship Id="rId39" Type="http://schemas.openxmlformats.org/officeDocument/2006/relationships/slideLayout" Target="../slideLayouts/slideLayout92.xml"/><Relationship Id="rId3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74.xml"/><Relationship Id="rId34" Type="http://schemas.openxmlformats.org/officeDocument/2006/relationships/slideLayout" Target="../slideLayouts/slideLayout87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33" Type="http://schemas.openxmlformats.org/officeDocument/2006/relationships/slideLayout" Target="../slideLayouts/slideLayout86.xml"/><Relationship Id="rId38" Type="http://schemas.openxmlformats.org/officeDocument/2006/relationships/slideLayout" Target="../slideLayouts/slideLayout91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29" Type="http://schemas.openxmlformats.org/officeDocument/2006/relationships/slideLayout" Target="../slideLayouts/slideLayout82.xml"/><Relationship Id="rId41" Type="http://schemas.openxmlformats.org/officeDocument/2006/relationships/theme" Target="../theme/theme3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32" Type="http://schemas.openxmlformats.org/officeDocument/2006/relationships/slideLayout" Target="../slideLayouts/slideLayout85.xml"/><Relationship Id="rId37" Type="http://schemas.openxmlformats.org/officeDocument/2006/relationships/slideLayout" Target="../slideLayouts/slideLayout90.xml"/><Relationship Id="rId40" Type="http://schemas.openxmlformats.org/officeDocument/2006/relationships/slideLayout" Target="../slideLayouts/slideLayout93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28" Type="http://schemas.openxmlformats.org/officeDocument/2006/relationships/slideLayout" Target="../slideLayouts/slideLayout81.xml"/><Relationship Id="rId36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31" Type="http://schemas.openxmlformats.org/officeDocument/2006/relationships/slideLayout" Target="../slideLayouts/slideLayout84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slideLayout" Target="../slideLayouts/slideLayout80.xml"/><Relationship Id="rId30" Type="http://schemas.openxmlformats.org/officeDocument/2006/relationships/slideLayout" Target="../slideLayouts/slideLayout83.xml"/><Relationship Id="rId35" Type="http://schemas.openxmlformats.org/officeDocument/2006/relationships/slideLayout" Target="../slideLayouts/slideLayout8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slideLayout" Target="../slideLayouts/slideLayout106.xml"/><Relationship Id="rId18" Type="http://schemas.openxmlformats.org/officeDocument/2006/relationships/slideLayout" Target="../slideLayouts/slideLayout111.xml"/><Relationship Id="rId26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96.xml"/><Relationship Id="rId21" Type="http://schemas.openxmlformats.org/officeDocument/2006/relationships/slideLayout" Target="../slideLayouts/slideLayout114.xml"/><Relationship Id="rId34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17" Type="http://schemas.openxmlformats.org/officeDocument/2006/relationships/slideLayout" Target="../slideLayouts/slideLayout110.xml"/><Relationship Id="rId25" Type="http://schemas.openxmlformats.org/officeDocument/2006/relationships/slideLayout" Target="../slideLayouts/slideLayout118.xml"/><Relationship Id="rId33" Type="http://schemas.openxmlformats.org/officeDocument/2006/relationships/slideLayout" Target="../slideLayouts/slideLayout126.xml"/><Relationship Id="rId38" Type="http://schemas.openxmlformats.org/officeDocument/2006/relationships/theme" Target="../theme/theme4.xml"/><Relationship Id="rId2" Type="http://schemas.openxmlformats.org/officeDocument/2006/relationships/slideLayout" Target="../slideLayouts/slideLayout95.xml"/><Relationship Id="rId16" Type="http://schemas.openxmlformats.org/officeDocument/2006/relationships/slideLayout" Target="../slideLayouts/slideLayout109.xml"/><Relationship Id="rId20" Type="http://schemas.openxmlformats.org/officeDocument/2006/relationships/slideLayout" Target="../slideLayouts/slideLayout113.xml"/><Relationship Id="rId29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24" Type="http://schemas.openxmlformats.org/officeDocument/2006/relationships/slideLayout" Target="../slideLayouts/slideLayout117.xml"/><Relationship Id="rId32" Type="http://schemas.openxmlformats.org/officeDocument/2006/relationships/slideLayout" Target="../slideLayouts/slideLayout125.xml"/><Relationship Id="rId37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98.xml"/><Relationship Id="rId15" Type="http://schemas.openxmlformats.org/officeDocument/2006/relationships/slideLayout" Target="../slideLayouts/slideLayout108.xml"/><Relationship Id="rId23" Type="http://schemas.openxmlformats.org/officeDocument/2006/relationships/slideLayout" Target="../slideLayouts/slideLayout116.xml"/><Relationship Id="rId28" Type="http://schemas.openxmlformats.org/officeDocument/2006/relationships/slideLayout" Target="../slideLayouts/slideLayout121.xml"/><Relationship Id="rId36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103.xml"/><Relationship Id="rId19" Type="http://schemas.openxmlformats.org/officeDocument/2006/relationships/slideLayout" Target="../slideLayouts/slideLayout112.xml"/><Relationship Id="rId31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slideLayout" Target="../slideLayouts/slideLayout107.xml"/><Relationship Id="rId22" Type="http://schemas.openxmlformats.org/officeDocument/2006/relationships/slideLayout" Target="../slideLayouts/slideLayout115.xml"/><Relationship Id="rId27" Type="http://schemas.openxmlformats.org/officeDocument/2006/relationships/slideLayout" Target="../slideLayouts/slideLayout120.xml"/><Relationship Id="rId30" Type="http://schemas.openxmlformats.org/officeDocument/2006/relationships/slideLayout" Target="../slideLayouts/slideLayout123.xml"/><Relationship Id="rId35" Type="http://schemas.openxmlformats.org/officeDocument/2006/relationships/slideLayout" Target="../slideLayouts/slideLayout1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7676" y="388063"/>
            <a:ext cx="11295063" cy="3840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1408182"/>
            <a:ext cx="11295063" cy="48322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-level</a:t>
            </a:r>
          </a:p>
          <a:p>
            <a:pPr lvl="2"/>
            <a:r>
              <a:rPr lang="en-US" dirty="0"/>
              <a:t>Third-level</a:t>
            </a:r>
          </a:p>
          <a:p>
            <a:pPr lvl="3"/>
            <a:r>
              <a:rPr lang="en-US" dirty="0"/>
              <a:t>Fourth-level</a:t>
            </a:r>
          </a:p>
          <a:p>
            <a:pPr lvl="4"/>
            <a:r>
              <a:rPr lang="en-US" dirty="0"/>
              <a:t>Fifth-level</a:t>
            </a:r>
          </a:p>
        </p:txBody>
      </p:sp>
      <p:sp>
        <p:nvSpPr>
          <p:cNvPr id="5" name="Content Placeholder 8"/>
          <p:cNvSpPr txBox="1">
            <a:spLocks/>
          </p:cNvSpPr>
          <p:nvPr/>
        </p:nvSpPr>
        <p:spPr>
          <a:xfrm>
            <a:off x="11169232" y="6418626"/>
            <a:ext cx="734302" cy="228600"/>
          </a:xfrm>
          <a:prstGeom prst="rect">
            <a:avLst/>
          </a:prstGeom>
        </p:spPr>
        <p:txBody>
          <a:bodyPr lIns="112316" tIns="56158" rIns="112316" bIns="56158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solidFill>
                  <a:srgbClr val="414141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200" smtClean="0">
                <a:solidFill>
                  <a:srgbClr val="3F3F3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200" dirty="0">
              <a:solidFill>
                <a:srgbClr val="414141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6" name="Content Placeholder 8"/>
          <p:cNvSpPr txBox="1">
            <a:spLocks/>
          </p:cNvSpPr>
          <p:nvPr/>
        </p:nvSpPr>
        <p:spPr>
          <a:xfrm>
            <a:off x="457200" y="6418626"/>
            <a:ext cx="385921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414141"/>
                </a:solidFill>
              </a:rPr>
              <a:t>©2019 Aetna Inc.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764258" y="6438813"/>
            <a:ext cx="660312" cy="126188"/>
            <a:chOff x="5841888" y="6443197"/>
            <a:chExt cx="528691" cy="134678"/>
          </a:xfrm>
          <a:solidFill>
            <a:schemeClr val="accent2"/>
          </a:solidFill>
        </p:grpSpPr>
        <p:sp>
          <p:nvSpPr>
            <p:cNvPr id="8" name="Freeform 5"/>
            <p:cNvSpPr>
              <a:spLocks noEditPoints="1"/>
            </p:cNvSpPr>
            <p:nvPr userDrawn="1"/>
          </p:nvSpPr>
          <p:spPr bwMode="auto">
            <a:xfrm>
              <a:off x="5841888" y="6443197"/>
              <a:ext cx="496424" cy="134678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ChangeAspect="1" noEditPoints="1"/>
            </p:cNvSpPr>
            <p:nvPr userDrawn="1"/>
          </p:nvSpPr>
          <p:spPr bwMode="auto">
            <a:xfrm>
              <a:off x="6346127" y="6468230"/>
              <a:ext cx="24452" cy="26333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69807E04-96A5-44A3-B14B-C3472C8F60F7}"/>
              </a:ext>
            </a:extLst>
          </p:cNvPr>
          <p:cNvSpPr txBox="1"/>
          <p:nvPr userDrawn="1"/>
        </p:nvSpPr>
        <p:spPr>
          <a:xfrm>
            <a:off x="0" y="6629836"/>
            <a:ext cx="70915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>
                <a:solidFill>
                  <a:srgbClr val="414141"/>
                </a:solidFill>
                <a:latin typeface="Calibri" panose="020F0502020204030204" pitchFamily="34" charset="0"/>
                <a:ea typeface="Open Sans" charset="0"/>
                <a:cs typeface="Open Sans" charset="0"/>
              </a:rPr>
              <a:t>Proprietary</a:t>
            </a:r>
            <a:endParaRPr lang="en-US" sz="800" b="0" i="0" dirty="0" err="1">
              <a:solidFill>
                <a:srgbClr val="414141"/>
              </a:solidFill>
              <a:latin typeface="Calibri" panose="020F0502020204030204" pitchFamily="34" charset="0"/>
              <a:ea typeface="Open Sans" charset="0"/>
              <a:cs typeface="Ope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5246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714" r:id="rId2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842593" rtl="0" eaLnBrk="1" latinLnBrk="0" hangingPunct="1">
        <a:lnSpc>
          <a:spcPct val="90000"/>
        </a:lnSpc>
        <a:spcBef>
          <a:spcPct val="0"/>
        </a:spcBef>
        <a:buNone/>
        <a:defRPr sz="2900" b="0" i="0" kern="1200">
          <a:solidFill>
            <a:schemeClr val="accent2"/>
          </a:solidFill>
          <a:latin typeface="Open Sans" charset="0"/>
          <a:ea typeface="Open Sans" charset="0"/>
          <a:cs typeface="Open Sans" charset="0"/>
        </a:defRPr>
      </a:lvl1pPr>
    </p:titleStyle>
    <p:bodyStyle>
      <a:lvl1pPr marL="0" indent="0" algn="l" defTabSz="842593" rtl="0" eaLnBrk="1" latinLnBrk="0" hangingPunct="1">
        <a:spcBef>
          <a:spcPts val="737"/>
        </a:spcBef>
        <a:spcAft>
          <a:spcPts val="0"/>
        </a:spcAft>
        <a:buClrTx/>
        <a:buFontTx/>
        <a:buNone/>
        <a:tabLst>
          <a:tab pos="1107366" algn="l"/>
        </a:tabLst>
        <a:defRPr sz="1700" b="0" i="0" kern="1200">
          <a:solidFill>
            <a:schemeClr val="tx2"/>
          </a:solidFill>
          <a:latin typeface="Open Sans" charset="0"/>
          <a:ea typeface="Open Sans" charset="0"/>
          <a:cs typeface="Open Sans" charset="0"/>
        </a:defRPr>
      </a:lvl1pPr>
      <a:lvl2pPr marL="184317" indent="-184317" algn="l" defTabSz="842593" rtl="0" eaLnBrk="1" latinLnBrk="0" hangingPunct="1">
        <a:spcBef>
          <a:spcPts val="1474"/>
        </a:spcBef>
        <a:spcAft>
          <a:spcPts val="0"/>
        </a:spcAft>
        <a:buClrTx/>
        <a:buFont typeface="Arial" pitchFamily="34" charset="0"/>
        <a:buChar char="•"/>
        <a:tabLst>
          <a:tab pos="1107366" algn="l"/>
        </a:tabLst>
        <a:defRPr sz="1700" b="0" i="0" kern="1200">
          <a:solidFill>
            <a:schemeClr val="tx2"/>
          </a:solidFill>
          <a:latin typeface="Open Sans" charset="0"/>
          <a:ea typeface="Open Sans" charset="0"/>
          <a:cs typeface="Open Sans" charset="0"/>
        </a:defRPr>
      </a:lvl2pPr>
      <a:lvl3pPr marL="367172" indent="-184317" algn="l" defTabSz="842593" rtl="0" eaLnBrk="1" latinLnBrk="0" hangingPunct="1">
        <a:spcBef>
          <a:spcPts val="368"/>
        </a:spcBef>
        <a:spcAft>
          <a:spcPts val="0"/>
        </a:spcAft>
        <a:buClrTx/>
        <a:buFont typeface="Lucida Grande"/>
        <a:buChar char="-"/>
        <a:tabLst>
          <a:tab pos="1107366" algn="l"/>
        </a:tabLst>
        <a:defRPr sz="1700" b="0" i="0" kern="1200">
          <a:solidFill>
            <a:schemeClr val="tx2"/>
          </a:solidFill>
          <a:latin typeface="Open Sans" charset="0"/>
          <a:ea typeface="Open Sans" charset="0"/>
          <a:cs typeface="Open Sans" charset="0"/>
        </a:defRPr>
      </a:lvl3pPr>
      <a:lvl4pPr marL="573431" indent="-184317" algn="l" defTabSz="842593" rtl="0" eaLnBrk="1" latinLnBrk="0" hangingPunct="1">
        <a:spcBef>
          <a:spcPts val="368"/>
        </a:spcBef>
        <a:spcAft>
          <a:spcPts val="0"/>
        </a:spcAft>
        <a:buClrTx/>
        <a:buFont typeface="Arial" pitchFamily="34" charset="0"/>
        <a:buChar char="•"/>
        <a:tabLst>
          <a:tab pos="1107366" algn="l"/>
        </a:tabLst>
        <a:defRPr sz="1700" b="0" i="0" kern="1200">
          <a:solidFill>
            <a:schemeClr val="tx2"/>
          </a:solidFill>
          <a:latin typeface="Open Sans" charset="0"/>
          <a:ea typeface="Open Sans" charset="0"/>
          <a:cs typeface="Open Sans" charset="0"/>
        </a:defRPr>
      </a:lvl4pPr>
      <a:lvl5pPr marL="743120" indent="-168227" algn="l" defTabSz="842593" rtl="0" eaLnBrk="1" latinLnBrk="0" hangingPunct="1">
        <a:spcBef>
          <a:spcPts val="368"/>
        </a:spcBef>
        <a:spcAft>
          <a:spcPts val="0"/>
        </a:spcAft>
        <a:buClrTx/>
        <a:buFont typeface="Lucida Grande"/>
        <a:buChar char="-"/>
        <a:tabLst>
          <a:tab pos="1107366" algn="l"/>
        </a:tabLst>
        <a:defRPr sz="1700" b="0" i="0" kern="1200">
          <a:solidFill>
            <a:schemeClr val="tx2"/>
          </a:solidFill>
          <a:latin typeface="Open Sans" charset="0"/>
          <a:ea typeface="Open Sans" charset="0"/>
          <a:cs typeface="Open Sans" charset="0"/>
        </a:defRPr>
      </a:lvl5pPr>
      <a:lvl6pPr marL="2317130" indent="-210649" algn="l" defTabSz="84259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26" indent="-210649" algn="l" defTabSz="84259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9723" indent="-210649" algn="l" defTabSz="84259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1019" indent="-210649" algn="l" defTabSz="84259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25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1296" algn="l" defTabSz="8425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42593" algn="l" defTabSz="8425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63889" algn="l" defTabSz="8425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85186" algn="l" defTabSz="8425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06482" algn="l" defTabSz="8425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27779" algn="l" defTabSz="8425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49075" algn="l" defTabSz="8425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70372" algn="l" defTabSz="8425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7676" y="388063"/>
            <a:ext cx="11295063" cy="3840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1408182"/>
            <a:ext cx="11295063" cy="48322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-level</a:t>
            </a:r>
          </a:p>
          <a:p>
            <a:pPr lvl="2"/>
            <a:r>
              <a:rPr lang="en-US" dirty="0"/>
              <a:t>Third-level</a:t>
            </a:r>
          </a:p>
          <a:p>
            <a:pPr lvl="3"/>
            <a:r>
              <a:rPr lang="en-US" dirty="0"/>
              <a:t>Fourth-level</a:t>
            </a:r>
          </a:p>
          <a:p>
            <a:pPr lvl="4"/>
            <a:r>
              <a:rPr lang="en-US" dirty="0"/>
              <a:t>Fifth-level</a:t>
            </a:r>
          </a:p>
        </p:txBody>
      </p:sp>
      <p:sp>
        <p:nvSpPr>
          <p:cNvPr id="5" name="Content Placeholder 8"/>
          <p:cNvSpPr txBox="1">
            <a:spLocks/>
          </p:cNvSpPr>
          <p:nvPr/>
        </p:nvSpPr>
        <p:spPr>
          <a:xfrm>
            <a:off x="11169232" y="6418626"/>
            <a:ext cx="734302" cy="228600"/>
          </a:xfrm>
          <a:prstGeom prst="rect">
            <a:avLst/>
          </a:prstGeom>
        </p:spPr>
        <p:txBody>
          <a:bodyPr lIns="112316" tIns="56158" rIns="112316" bIns="56158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solidFill>
                  <a:srgbClr val="414141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200" smtClean="0">
                <a:solidFill>
                  <a:srgbClr val="3F3F3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200" dirty="0">
              <a:solidFill>
                <a:srgbClr val="414141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6" name="Content Placeholder 8"/>
          <p:cNvSpPr txBox="1">
            <a:spLocks/>
          </p:cNvSpPr>
          <p:nvPr/>
        </p:nvSpPr>
        <p:spPr>
          <a:xfrm>
            <a:off x="457200" y="6418626"/>
            <a:ext cx="3859212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414141"/>
                </a:solidFill>
              </a:rPr>
              <a:t>©2018 Aetna Inc.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764258" y="6438813"/>
            <a:ext cx="660312" cy="126188"/>
            <a:chOff x="5841888" y="6443197"/>
            <a:chExt cx="528691" cy="134678"/>
          </a:xfrm>
          <a:solidFill>
            <a:schemeClr val="accent2"/>
          </a:solidFill>
        </p:grpSpPr>
        <p:sp>
          <p:nvSpPr>
            <p:cNvPr id="8" name="Freeform 5"/>
            <p:cNvSpPr>
              <a:spLocks noEditPoints="1"/>
            </p:cNvSpPr>
            <p:nvPr userDrawn="1"/>
          </p:nvSpPr>
          <p:spPr bwMode="auto">
            <a:xfrm>
              <a:off x="5841888" y="6443197"/>
              <a:ext cx="496424" cy="134678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ChangeAspect="1" noEditPoints="1"/>
            </p:cNvSpPr>
            <p:nvPr userDrawn="1"/>
          </p:nvSpPr>
          <p:spPr bwMode="auto">
            <a:xfrm>
              <a:off x="6346127" y="6468230"/>
              <a:ext cx="24452" cy="26333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69230ED5-F2C2-4828-8810-DAD1B7786A51}"/>
              </a:ext>
            </a:extLst>
          </p:cNvPr>
          <p:cNvSpPr txBox="1"/>
          <p:nvPr userDrawn="1"/>
        </p:nvSpPr>
        <p:spPr>
          <a:xfrm>
            <a:off x="0" y="6629836"/>
            <a:ext cx="70915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>
                <a:solidFill>
                  <a:srgbClr val="414141"/>
                </a:solidFill>
                <a:latin typeface="Calibri" panose="020F0502020204030204" pitchFamily="34" charset="0"/>
                <a:ea typeface="Open Sans" charset="0"/>
                <a:cs typeface="Open Sans" charset="0"/>
              </a:rPr>
              <a:t>Proprietary</a:t>
            </a:r>
            <a:endParaRPr lang="en-US" sz="800" b="0" i="0" dirty="0" err="1">
              <a:solidFill>
                <a:srgbClr val="414141"/>
              </a:solidFill>
              <a:latin typeface="Calibri" panose="020F0502020204030204" pitchFamily="34" charset="0"/>
              <a:ea typeface="Open Sans" charset="0"/>
              <a:cs typeface="Ope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1214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709" r:id="rId22"/>
    <p:sldLayoutId id="2147483710" r:id="rId23"/>
    <p:sldLayoutId id="2147483711" r:id="rId24"/>
    <p:sldLayoutId id="2147483712" r:id="rId25"/>
    <p:sldLayoutId id="2147483713" r:id="rId2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842593" rtl="0" eaLnBrk="1" latinLnBrk="0" hangingPunct="1">
        <a:lnSpc>
          <a:spcPct val="90000"/>
        </a:lnSpc>
        <a:spcBef>
          <a:spcPct val="0"/>
        </a:spcBef>
        <a:buNone/>
        <a:defRPr sz="2900" b="0" i="0" kern="1200">
          <a:solidFill>
            <a:schemeClr val="accent2"/>
          </a:solidFill>
          <a:latin typeface="Open Sans" charset="0"/>
          <a:ea typeface="Open Sans" charset="0"/>
          <a:cs typeface="Open Sans" charset="0"/>
        </a:defRPr>
      </a:lvl1pPr>
    </p:titleStyle>
    <p:bodyStyle>
      <a:lvl1pPr marL="0" indent="0" algn="l" defTabSz="842593" rtl="0" eaLnBrk="1" latinLnBrk="0" hangingPunct="1">
        <a:spcBef>
          <a:spcPts val="737"/>
        </a:spcBef>
        <a:spcAft>
          <a:spcPts val="0"/>
        </a:spcAft>
        <a:buClrTx/>
        <a:buFontTx/>
        <a:buNone/>
        <a:tabLst>
          <a:tab pos="1107366" algn="l"/>
        </a:tabLst>
        <a:defRPr sz="1700" b="0" i="0" kern="1200">
          <a:solidFill>
            <a:schemeClr val="tx2"/>
          </a:solidFill>
          <a:latin typeface="Open Sans" charset="0"/>
          <a:ea typeface="Open Sans" charset="0"/>
          <a:cs typeface="Open Sans" charset="0"/>
        </a:defRPr>
      </a:lvl1pPr>
      <a:lvl2pPr marL="184317" indent="-184317" algn="l" defTabSz="842593" rtl="0" eaLnBrk="1" latinLnBrk="0" hangingPunct="1">
        <a:spcBef>
          <a:spcPts val="1474"/>
        </a:spcBef>
        <a:spcAft>
          <a:spcPts val="0"/>
        </a:spcAft>
        <a:buClrTx/>
        <a:buFont typeface="Arial" pitchFamily="34" charset="0"/>
        <a:buChar char="•"/>
        <a:tabLst>
          <a:tab pos="1107366" algn="l"/>
        </a:tabLst>
        <a:defRPr sz="1700" b="0" i="0" kern="1200">
          <a:solidFill>
            <a:schemeClr val="tx2"/>
          </a:solidFill>
          <a:latin typeface="Open Sans" charset="0"/>
          <a:ea typeface="Open Sans" charset="0"/>
          <a:cs typeface="Open Sans" charset="0"/>
        </a:defRPr>
      </a:lvl2pPr>
      <a:lvl3pPr marL="367172" indent="-184317" algn="l" defTabSz="842593" rtl="0" eaLnBrk="1" latinLnBrk="0" hangingPunct="1">
        <a:spcBef>
          <a:spcPts val="368"/>
        </a:spcBef>
        <a:spcAft>
          <a:spcPts val="0"/>
        </a:spcAft>
        <a:buClrTx/>
        <a:buFont typeface="Lucida Grande"/>
        <a:buChar char="-"/>
        <a:tabLst>
          <a:tab pos="1107366" algn="l"/>
        </a:tabLst>
        <a:defRPr sz="1700" b="0" i="0" kern="1200">
          <a:solidFill>
            <a:schemeClr val="tx2"/>
          </a:solidFill>
          <a:latin typeface="Open Sans" charset="0"/>
          <a:ea typeface="Open Sans" charset="0"/>
          <a:cs typeface="Open Sans" charset="0"/>
        </a:defRPr>
      </a:lvl3pPr>
      <a:lvl4pPr marL="573431" indent="-184317" algn="l" defTabSz="842593" rtl="0" eaLnBrk="1" latinLnBrk="0" hangingPunct="1">
        <a:spcBef>
          <a:spcPts val="368"/>
        </a:spcBef>
        <a:spcAft>
          <a:spcPts val="0"/>
        </a:spcAft>
        <a:buClrTx/>
        <a:buFont typeface="Arial" pitchFamily="34" charset="0"/>
        <a:buChar char="•"/>
        <a:tabLst>
          <a:tab pos="1107366" algn="l"/>
        </a:tabLst>
        <a:defRPr sz="1700" b="0" i="0" kern="1200">
          <a:solidFill>
            <a:schemeClr val="tx2"/>
          </a:solidFill>
          <a:latin typeface="Open Sans" charset="0"/>
          <a:ea typeface="Open Sans" charset="0"/>
          <a:cs typeface="Open Sans" charset="0"/>
        </a:defRPr>
      </a:lvl4pPr>
      <a:lvl5pPr marL="743120" indent="-168227" algn="l" defTabSz="842593" rtl="0" eaLnBrk="1" latinLnBrk="0" hangingPunct="1">
        <a:spcBef>
          <a:spcPts val="368"/>
        </a:spcBef>
        <a:spcAft>
          <a:spcPts val="0"/>
        </a:spcAft>
        <a:buClrTx/>
        <a:buFont typeface="Lucida Grande"/>
        <a:buChar char="-"/>
        <a:tabLst>
          <a:tab pos="1107366" algn="l"/>
        </a:tabLst>
        <a:defRPr sz="1700" b="0" i="0" kern="1200">
          <a:solidFill>
            <a:schemeClr val="tx2"/>
          </a:solidFill>
          <a:latin typeface="Open Sans" charset="0"/>
          <a:ea typeface="Open Sans" charset="0"/>
          <a:cs typeface="Open Sans" charset="0"/>
        </a:defRPr>
      </a:lvl5pPr>
      <a:lvl6pPr marL="2317130" indent="-210649" algn="l" defTabSz="84259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26" indent="-210649" algn="l" defTabSz="84259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9723" indent="-210649" algn="l" defTabSz="84259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1019" indent="-210649" algn="l" defTabSz="84259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25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1296" algn="l" defTabSz="8425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42593" algn="l" defTabSz="8425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63889" algn="l" defTabSz="8425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85186" algn="l" defTabSz="8425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06482" algn="l" defTabSz="8425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27779" algn="l" defTabSz="8425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49075" algn="l" defTabSz="8425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70372" algn="l" defTabSz="8425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>
            <a:extLst>
              <a:ext uri="{FF2B5EF4-FFF2-40B4-BE49-F238E27FC236}">
                <a16:creationId xmlns:a16="http://schemas.microsoft.com/office/drawing/2014/main" id="{5C788FBC-07F7-4318-8948-6C35B8F1F14E}"/>
              </a:ext>
            </a:extLst>
          </p:cNvPr>
          <p:cNvSpPr txBox="1"/>
          <p:nvPr/>
        </p:nvSpPr>
        <p:spPr>
          <a:xfrm>
            <a:off x="861174" y="6425582"/>
            <a:ext cx="46534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©2020 CVS Health and/or one of its affiliates. Confidential and proprietary.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4F02B14-26DC-47C5-BE74-75AB1C1533A3}"/>
              </a:ext>
            </a:extLst>
          </p:cNvPr>
          <p:cNvGrpSpPr>
            <a:grpSpLocks noChangeAspect="1"/>
          </p:cNvGrpSpPr>
          <p:nvPr/>
        </p:nvGrpSpPr>
        <p:grpSpPr>
          <a:xfrm>
            <a:off x="9921261" y="6373316"/>
            <a:ext cx="1705129" cy="157138"/>
            <a:chOff x="1011652" y="1504398"/>
            <a:chExt cx="10028238" cy="1231900"/>
          </a:xfrm>
          <a:solidFill>
            <a:schemeClr val="tx1"/>
          </a:solidFill>
        </p:grpSpPr>
        <p:sp>
          <p:nvSpPr>
            <p:cNvPr id="14" name="Freeform 4">
              <a:extLst>
                <a:ext uri="{FF2B5EF4-FFF2-40B4-BE49-F238E27FC236}">
                  <a16:creationId xmlns:a16="http://schemas.microsoft.com/office/drawing/2014/main" id="{C03C60BD-E208-4793-B163-0391E0673C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EAC11C27-7E62-4B31-9680-B59D24D0A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FA0788F6-B4B0-4834-AFB4-98F21B43F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F754B0DD-7999-4250-A4C0-0C3C1406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50CBFC8A-B083-42B9-9504-2364FACEC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3EDE8E81-9781-4645-9DFD-79E2B61F7D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784" y="530351"/>
            <a:ext cx="9665208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7784" y="1767532"/>
            <a:ext cx="11045952" cy="3977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20" name="Content Placeholder 8"/>
          <p:cNvSpPr txBox="1">
            <a:spLocks/>
          </p:cNvSpPr>
          <p:nvPr/>
        </p:nvSpPr>
        <p:spPr>
          <a:xfrm>
            <a:off x="557784" y="6367487"/>
            <a:ext cx="352367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E403C86B-3A4F-4E7F-9015-CE6ACE05C481}"/>
              </a:ext>
            </a:extLst>
          </p:cNvPr>
          <p:cNvSpPr txBox="1"/>
          <p:nvPr userDrawn="1"/>
        </p:nvSpPr>
        <p:spPr>
          <a:xfrm>
            <a:off x="0" y="6629836"/>
            <a:ext cx="70915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 b="0" i="0">
                <a:solidFill>
                  <a:srgbClr val="414141"/>
                </a:solidFill>
                <a:latin typeface="Calibri" panose="020F0502020204030204" pitchFamily="34" charset="0"/>
                <a:ea typeface="Open Sans" charset="0"/>
                <a:cs typeface="Open Sans" charset="0"/>
              </a:rPr>
              <a:t>Proprietary</a:t>
            </a:r>
            <a:endParaRPr lang="en-US" sz="800" b="0" i="0" dirty="0" err="1">
              <a:solidFill>
                <a:srgbClr val="414141"/>
              </a:solidFill>
              <a:latin typeface="Calibri" panose="020F0502020204030204" pitchFamily="34" charset="0"/>
              <a:ea typeface="Open Sans" charset="0"/>
              <a:cs typeface="Ope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274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  <p:sldLayoutId id="2147483734" r:id="rId19"/>
    <p:sldLayoutId id="2147483735" r:id="rId20"/>
    <p:sldLayoutId id="2147483736" r:id="rId21"/>
    <p:sldLayoutId id="2147483737" r:id="rId22"/>
    <p:sldLayoutId id="2147483738" r:id="rId23"/>
    <p:sldLayoutId id="2147483739" r:id="rId24"/>
    <p:sldLayoutId id="2147483740" r:id="rId25"/>
    <p:sldLayoutId id="2147483741" r:id="rId26"/>
    <p:sldLayoutId id="2147483742" r:id="rId27"/>
    <p:sldLayoutId id="2147483743" r:id="rId28"/>
    <p:sldLayoutId id="2147483744" r:id="rId29"/>
    <p:sldLayoutId id="2147483745" r:id="rId30"/>
    <p:sldLayoutId id="2147483746" r:id="rId31"/>
    <p:sldLayoutId id="2147483747" r:id="rId32"/>
    <p:sldLayoutId id="2147483748" r:id="rId33"/>
    <p:sldLayoutId id="2147483749" r:id="rId34"/>
    <p:sldLayoutId id="2147483750" r:id="rId35"/>
    <p:sldLayoutId id="2147483751" r:id="rId36"/>
    <p:sldLayoutId id="2147483752" r:id="rId37"/>
    <p:sldLayoutId id="2147483753" r:id="rId38"/>
    <p:sldLayoutId id="2147483754" r:id="rId39"/>
    <p:sldLayoutId id="2147483755" r:id="rId4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800"/>
        </a:spcBef>
        <a:buClrTx/>
        <a:buFont typeface="Arial"/>
        <a:buNone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71450" indent="-171450" algn="l" defTabSz="457200" rtl="0" eaLnBrk="1" latinLnBrk="0" hangingPunct="1">
        <a:spcBef>
          <a:spcPts val="12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42900" indent="-171450" algn="l" defTabSz="457200" rtl="0" eaLnBrk="1" latinLnBrk="0" hangingPunct="1">
        <a:spcBef>
          <a:spcPts val="600"/>
        </a:spcBef>
        <a:buClrTx/>
        <a:buFont typeface="Lucida Grande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514350" indent="-17145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8580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85725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0287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206500" indent="-17780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3716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1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336">
          <p15:clr>
            <a:srgbClr val="F26B43"/>
          </p15:clr>
        </p15:guide>
        <p15:guide id="5" orient="horz" pos="3622">
          <p15:clr>
            <a:srgbClr val="F26B43"/>
          </p15:clr>
        </p15:guide>
        <p15:guide id="6" orient="horz" pos="4110">
          <p15:clr>
            <a:srgbClr val="F26B43"/>
          </p15:clr>
        </p15:guide>
        <p15:guide id="7" orient="horz" pos="2160" userDrawn="1">
          <p15:clr>
            <a:srgbClr val="F26B43"/>
          </p15:clr>
        </p15:guide>
        <p15:guide id="8" pos="288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784" y="530351"/>
            <a:ext cx="9665208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7784" y="1767532"/>
            <a:ext cx="11045952" cy="3977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20" name="Content Placeholder 8"/>
          <p:cNvSpPr txBox="1">
            <a:spLocks/>
          </p:cNvSpPr>
          <p:nvPr/>
        </p:nvSpPr>
        <p:spPr>
          <a:xfrm>
            <a:off x="557784" y="6367487"/>
            <a:ext cx="352367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4F02B14-26DC-47C5-BE74-75AB1C1533A3}"/>
              </a:ext>
            </a:extLst>
          </p:cNvPr>
          <p:cNvGrpSpPr>
            <a:grpSpLocks noChangeAspect="1"/>
          </p:cNvGrpSpPr>
          <p:nvPr/>
        </p:nvGrpSpPr>
        <p:grpSpPr>
          <a:xfrm>
            <a:off x="10352582" y="6373316"/>
            <a:ext cx="1279180" cy="157138"/>
            <a:chOff x="1011652" y="1504398"/>
            <a:chExt cx="10028238" cy="1231900"/>
          </a:xfrm>
          <a:solidFill>
            <a:schemeClr val="tx1"/>
          </a:solidFill>
        </p:grpSpPr>
        <p:sp>
          <p:nvSpPr>
            <p:cNvPr id="23" name="Freeform 4">
              <a:extLst>
                <a:ext uri="{FF2B5EF4-FFF2-40B4-BE49-F238E27FC236}">
                  <a16:creationId xmlns:a16="http://schemas.microsoft.com/office/drawing/2014/main" id="{C03C60BD-E208-4793-B163-0391E0673C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AC11C27-7E62-4B31-9680-B59D24D0A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FA0788F6-B4B0-4834-AFB4-98F21B43F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F754B0DD-7999-4250-A4C0-0C3C1406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50CBFC8A-B083-42B9-9504-2364FACEC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3EDE8E81-9781-4645-9DFD-79E2B61F7D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E6118871-4A8C-4517-9A46-8863C34DC7FC}"/>
              </a:ext>
            </a:extLst>
          </p:cNvPr>
          <p:cNvSpPr txBox="1"/>
          <p:nvPr/>
        </p:nvSpPr>
        <p:spPr>
          <a:xfrm>
            <a:off x="859534" y="6425581"/>
            <a:ext cx="804672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©2020 CVS Health and/or one of its affiliates. Confidential and proprietary.</a:t>
            </a:r>
          </a:p>
        </p:txBody>
      </p:sp>
      <p:sp>
        <p:nvSpPr>
          <p:cNvPr id="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CE2437CA-8A30-424E-88B3-31C0C6947A58}"/>
              </a:ext>
            </a:extLst>
          </p:cNvPr>
          <p:cNvSpPr txBox="1"/>
          <p:nvPr userDrawn="1"/>
        </p:nvSpPr>
        <p:spPr>
          <a:xfrm>
            <a:off x="0" y="6629836"/>
            <a:ext cx="70915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Calibri" panose="020F050202020403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8035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  <p:sldLayoutId id="2147483771" r:id="rId15"/>
    <p:sldLayoutId id="2147483772" r:id="rId16"/>
    <p:sldLayoutId id="2147483773" r:id="rId17"/>
    <p:sldLayoutId id="2147483774" r:id="rId18"/>
    <p:sldLayoutId id="2147483775" r:id="rId19"/>
    <p:sldLayoutId id="2147483776" r:id="rId20"/>
    <p:sldLayoutId id="2147483777" r:id="rId21"/>
    <p:sldLayoutId id="2147483778" r:id="rId22"/>
    <p:sldLayoutId id="2147483779" r:id="rId23"/>
    <p:sldLayoutId id="2147483780" r:id="rId24"/>
    <p:sldLayoutId id="2147483781" r:id="rId25"/>
    <p:sldLayoutId id="2147483782" r:id="rId26"/>
    <p:sldLayoutId id="2147483783" r:id="rId27"/>
    <p:sldLayoutId id="2147483784" r:id="rId28"/>
    <p:sldLayoutId id="2147483785" r:id="rId29"/>
    <p:sldLayoutId id="2147483786" r:id="rId30"/>
    <p:sldLayoutId id="2147483787" r:id="rId31"/>
    <p:sldLayoutId id="2147483788" r:id="rId32"/>
    <p:sldLayoutId id="2147483789" r:id="rId33"/>
    <p:sldLayoutId id="2147483790" r:id="rId34"/>
    <p:sldLayoutId id="2147483791" r:id="rId35"/>
    <p:sldLayoutId id="2147483792" r:id="rId36"/>
    <p:sldLayoutId id="2147483793" r:id="rId37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800"/>
        </a:spcBef>
        <a:buClrTx/>
        <a:buFont typeface="Arial"/>
        <a:buNone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71450" indent="-171450" algn="l" defTabSz="457200" rtl="0" eaLnBrk="1" latinLnBrk="0" hangingPunct="1">
        <a:spcBef>
          <a:spcPts val="12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42900" indent="-171450" algn="l" defTabSz="457200" rtl="0" eaLnBrk="1" latinLnBrk="0" hangingPunct="1">
        <a:spcBef>
          <a:spcPts val="600"/>
        </a:spcBef>
        <a:buClrTx/>
        <a:buFont typeface="Lucida Grande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514350" indent="-17145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8580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85725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0287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206500" indent="-17780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3716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04">
          <p15:clr>
            <a:srgbClr val="F26B43"/>
          </p15:clr>
        </p15:guide>
        <p15:guide id="2" pos="362">
          <p15:clr>
            <a:srgbClr val="F26B43"/>
          </p15:clr>
        </p15:guide>
        <p15:guide id="3" pos="7319">
          <p15:clr>
            <a:srgbClr val="F26B43"/>
          </p15:clr>
        </p15:guide>
        <p15:guide id="4" orient="horz" pos="360">
          <p15:clr>
            <a:srgbClr val="F26B43"/>
          </p15:clr>
        </p15:guide>
        <p15:guide id="5" orient="horz" pos="3622">
          <p15:clr>
            <a:srgbClr val="F26B43"/>
          </p15:clr>
        </p15:guide>
        <p15:guide id="6" orient="horz" pos="41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svg"/><Relationship Id="rId7" Type="http://schemas.openxmlformats.org/officeDocument/2006/relationships/image" Target="../media/image33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5.xml"/><Relationship Id="rId6" Type="http://schemas.openxmlformats.org/officeDocument/2006/relationships/image" Target="../media/image32.png"/><Relationship Id="rId5" Type="http://schemas.openxmlformats.org/officeDocument/2006/relationships/image" Target="../media/image31.svg"/><Relationship Id="rId4" Type="http://schemas.openxmlformats.org/officeDocument/2006/relationships/image" Target="../media/image30.png"/><Relationship Id="rId9" Type="http://schemas.openxmlformats.org/officeDocument/2006/relationships/image" Target="../media/image35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svg"/><Relationship Id="rId7" Type="http://schemas.openxmlformats.org/officeDocument/2006/relationships/image" Target="../media/image33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5.xml"/><Relationship Id="rId6" Type="http://schemas.openxmlformats.org/officeDocument/2006/relationships/image" Target="../media/image32.png"/><Relationship Id="rId5" Type="http://schemas.openxmlformats.org/officeDocument/2006/relationships/image" Target="../media/image31.svg"/><Relationship Id="rId4" Type="http://schemas.openxmlformats.org/officeDocument/2006/relationships/image" Target="../media/image30.png"/><Relationship Id="rId9" Type="http://schemas.openxmlformats.org/officeDocument/2006/relationships/image" Target="../media/image35.sv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2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tags" Target="../tags/tag12.xml"/><Relationship Id="rId7" Type="http://schemas.openxmlformats.org/officeDocument/2006/relationships/chart" Target="../charts/chart1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notesSlide" Target="../notesSlides/notesSlide9.xml"/><Relationship Id="rId11" Type="http://schemas.openxmlformats.org/officeDocument/2006/relationships/image" Target="../media/image36.png"/><Relationship Id="rId5" Type="http://schemas.openxmlformats.org/officeDocument/2006/relationships/slideLayout" Target="../slideLayouts/slideLayout92.xml"/><Relationship Id="rId10" Type="http://schemas.openxmlformats.org/officeDocument/2006/relationships/chart" Target="../charts/chart16.xml"/><Relationship Id="rId4" Type="http://schemas.openxmlformats.org/officeDocument/2006/relationships/tags" Target="../tags/tag13.xml"/><Relationship Id="rId9" Type="http://schemas.openxmlformats.org/officeDocument/2006/relationships/chart" Target="../charts/chart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2.xml"/><Relationship Id="rId5" Type="http://schemas.openxmlformats.org/officeDocument/2006/relationships/image" Target="../media/image300.png"/><Relationship Id="rId4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image" Target="../media/image11.svg"/><Relationship Id="rId18" Type="http://schemas.openxmlformats.org/officeDocument/2006/relationships/image" Target="../media/image16.jpeg"/><Relationship Id="rId3" Type="http://schemas.openxmlformats.org/officeDocument/2006/relationships/image" Target="../media/image6.png"/><Relationship Id="rId21" Type="http://schemas.openxmlformats.org/officeDocument/2006/relationships/image" Target="../media/image19.png"/><Relationship Id="rId7" Type="http://schemas.openxmlformats.org/officeDocument/2006/relationships/diagramQuickStyle" Target="../diagrams/quickStyle1.xml"/><Relationship Id="rId12" Type="http://schemas.openxmlformats.org/officeDocument/2006/relationships/image" Target="../media/image10.png"/><Relationship Id="rId17" Type="http://schemas.openxmlformats.org/officeDocument/2006/relationships/image" Target="../media/image15.sv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4.png"/><Relationship Id="rId20" Type="http://schemas.openxmlformats.org/officeDocument/2006/relationships/image" Target="../media/image18.svg"/><Relationship Id="rId1" Type="http://schemas.openxmlformats.org/officeDocument/2006/relationships/slideLayout" Target="../slideLayouts/slideLayout92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9.svg"/><Relationship Id="rId24" Type="http://schemas.openxmlformats.org/officeDocument/2006/relationships/image" Target="../media/image22.svg"/><Relationship Id="rId5" Type="http://schemas.openxmlformats.org/officeDocument/2006/relationships/diagramData" Target="../diagrams/data1.xml"/><Relationship Id="rId15" Type="http://schemas.openxmlformats.org/officeDocument/2006/relationships/image" Target="../media/image13.svg"/><Relationship Id="rId23" Type="http://schemas.openxmlformats.org/officeDocument/2006/relationships/image" Target="../media/image21.png"/><Relationship Id="rId10" Type="http://schemas.openxmlformats.org/officeDocument/2006/relationships/image" Target="../media/image8.png"/><Relationship Id="rId19" Type="http://schemas.openxmlformats.org/officeDocument/2006/relationships/image" Target="../media/image17.png"/><Relationship Id="rId4" Type="http://schemas.openxmlformats.org/officeDocument/2006/relationships/image" Target="../media/image7.svg"/><Relationship Id="rId9" Type="http://schemas.microsoft.com/office/2007/relationships/diagramDrawing" Target="../diagrams/drawing1.xml"/><Relationship Id="rId14" Type="http://schemas.openxmlformats.org/officeDocument/2006/relationships/image" Target="../media/image12.png"/><Relationship Id="rId22" Type="http://schemas.openxmlformats.org/officeDocument/2006/relationships/image" Target="../media/image20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93.xml"/><Relationship Id="rId1" Type="http://schemas.openxmlformats.org/officeDocument/2006/relationships/tags" Target="../tags/tag1.xml"/><Relationship Id="rId6" Type="http://schemas.openxmlformats.org/officeDocument/2006/relationships/image" Target="../media/image23.png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3.xml"/><Relationship Id="rId4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4.xml"/><Relationship Id="rId7" Type="http://schemas.openxmlformats.org/officeDocument/2006/relationships/image" Target="../media/image24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6.xml"/><Relationship Id="rId11" Type="http://schemas.openxmlformats.org/officeDocument/2006/relationships/chart" Target="../charts/chart8.xml"/><Relationship Id="rId5" Type="http://schemas.openxmlformats.org/officeDocument/2006/relationships/slideLayout" Target="../slideLayouts/slideLayout92.xml"/><Relationship Id="rId10" Type="http://schemas.openxmlformats.org/officeDocument/2006/relationships/chart" Target="../charts/chart7.xml"/><Relationship Id="rId4" Type="http://schemas.openxmlformats.org/officeDocument/2006/relationships/tags" Target="../tags/tag5.xml"/><Relationship Id="rId9" Type="http://schemas.openxmlformats.org/officeDocument/2006/relationships/chart" Target="../charts/char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8.xml"/><Relationship Id="rId7" Type="http://schemas.openxmlformats.org/officeDocument/2006/relationships/image" Target="../media/image25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notesSlide" Target="../notesSlides/notesSlide7.xml"/><Relationship Id="rId11" Type="http://schemas.openxmlformats.org/officeDocument/2006/relationships/chart" Target="../charts/chart12.xml"/><Relationship Id="rId5" Type="http://schemas.openxmlformats.org/officeDocument/2006/relationships/slideLayout" Target="../slideLayouts/slideLayout92.xml"/><Relationship Id="rId10" Type="http://schemas.openxmlformats.org/officeDocument/2006/relationships/chart" Target="../charts/chart11.xml"/><Relationship Id="rId4" Type="http://schemas.openxmlformats.org/officeDocument/2006/relationships/tags" Target="../tags/tag9.xml"/><Relationship Id="rId9" Type="http://schemas.openxmlformats.org/officeDocument/2006/relationships/chart" Target="../charts/char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10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10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 descr="A picture containing water, outdoor, sport, man&#10;&#10;Description automatically generated">
            <a:extLst>
              <a:ext uri="{FF2B5EF4-FFF2-40B4-BE49-F238E27FC236}">
                <a16:creationId xmlns:a16="http://schemas.microsoft.com/office/drawing/2014/main" id="{42C7D6A6-2102-40F8-8021-C462896E2D0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" b="114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17" name="Title 2"/>
          <p:cNvSpPr>
            <a:spLocks noGrp="1"/>
          </p:cNvSpPr>
          <p:nvPr>
            <p:ph type="ctrTitle"/>
          </p:nvPr>
        </p:nvSpPr>
        <p:spPr>
          <a:xfrm>
            <a:off x="1540151" y="4763110"/>
            <a:ext cx="9108519" cy="1215588"/>
          </a:xfrm>
        </p:spPr>
        <p:txBody>
          <a:bodyPr anchor="ctr"/>
          <a:lstStyle/>
          <a:p>
            <a:r>
              <a:rPr lang="en-US" sz="4000" dirty="0"/>
              <a:t>Veteran Predictive Mod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0534923" y="6088670"/>
            <a:ext cx="1274490" cy="431800"/>
          </a:xfrm>
        </p:spPr>
        <p:txBody>
          <a:bodyPr/>
          <a:lstStyle/>
          <a:p>
            <a:r>
              <a:rPr lang="en-US" dirty="0"/>
              <a:t>September 202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0A092C-1653-4038-BF92-ACE288E6FE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3212" y="6088670"/>
            <a:ext cx="3732212" cy="431800"/>
          </a:xfrm>
        </p:spPr>
        <p:txBody>
          <a:bodyPr/>
          <a:lstStyle/>
          <a:p>
            <a:pPr algn="ctr"/>
            <a:r>
              <a:rPr lang="en-US" dirty="0"/>
              <a:t>Medicare Business Intelligence and Analytics Solutions (MCR BI&amp;A Solutions)</a:t>
            </a:r>
          </a:p>
        </p:txBody>
      </p:sp>
    </p:spTree>
    <p:extLst>
      <p:ext uri="{BB962C8B-B14F-4D97-AF65-F5344CB8AC3E}">
        <p14:creationId xmlns:p14="http://schemas.microsoft.com/office/powerpoint/2010/main" val="629035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Rectangle 2">
            <a:extLst>
              <a:ext uri="{FF2B5EF4-FFF2-40B4-BE49-F238E27FC236}">
                <a16:creationId xmlns:a16="http://schemas.microsoft.com/office/drawing/2014/main" id="{C7D46A01-BB13-4C48-A677-58BD9C8742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742" y="1502027"/>
            <a:ext cx="11330543" cy="4810065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190500" marR="0" lvl="0" indent="-19050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969696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1">
              <a:ln>
                <a:noFill/>
              </a:ln>
              <a:solidFill>
                <a:sysClr val="window" lastClr="FFFFFF">
                  <a:lumMod val="50000"/>
                </a:sysClr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uLnTx/>
              <a:uFillTx/>
              <a:latin typeface="Open Sans Light"/>
              <a:ea typeface="+mn-ea"/>
              <a:cs typeface="Arial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D6EA33A-266E-42DA-9E06-486395A58F75}"/>
              </a:ext>
            </a:extLst>
          </p:cNvPr>
          <p:cNvSpPr txBox="1">
            <a:spLocks/>
          </p:cNvSpPr>
          <p:nvPr/>
        </p:nvSpPr>
        <p:spPr>
          <a:xfrm>
            <a:off x="1267809" y="257827"/>
            <a:ext cx="10121889" cy="73161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Clustering Predicted Veterans – New York</a:t>
            </a:r>
          </a:p>
          <a:p>
            <a:pPr lvl="0"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Definition of High, </a:t>
            </a:r>
            <a:r>
              <a:rPr lang="en-US" sz="2000" i="1" dirty="0">
                <a:solidFill>
                  <a:srgbClr val="CC0000"/>
                </a:solidFill>
                <a:latin typeface="Arial"/>
              </a:rPr>
              <a:t>Medium and Low Risk </a:t>
            </a: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Member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C365C7D-C769-460D-8B7F-B4BEED84B6D4}"/>
              </a:ext>
            </a:extLst>
          </p:cNvPr>
          <p:cNvGrpSpPr/>
          <p:nvPr/>
        </p:nvGrpSpPr>
        <p:grpSpPr>
          <a:xfrm>
            <a:off x="446540" y="285863"/>
            <a:ext cx="509317" cy="707886"/>
            <a:chOff x="-1706746" y="1081861"/>
            <a:chExt cx="509317" cy="70788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B7A8FE4-1952-458B-AD07-1986E2648FBA}"/>
                </a:ext>
              </a:extLst>
            </p:cNvPr>
            <p:cNvSpPr/>
            <p:nvPr/>
          </p:nvSpPr>
          <p:spPr>
            <a:xfrm>
              <a:off x="-1706746" y="1081861"/>
              <a:ext cx="502061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000" b="1" dirty="0">
                  <a:solidFill>
                    <a:srgbClr val="C00000"/>
                  </a:solidFill>
                  <a:latin typeface="Domaine Display Bold" panose="020A0803080505060203" pitchFamily="18" charset="0"/>
                  <a:ea typeface="Open Sans" panose="020B0606030504020204" pitchFamily="34" charset="0"/>
                  <a:cs typeface="Open Sans" panose="020B0606030504020204" pitchFamily="34" charset="0"/>
                </a:rPr>
                <a:t>9</a:t>
              </a: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3BD2E0A-AE5B-43BE-9544-E71D8984BEC1}"/>
                </a:ext>
              </a:extLst>
            </p:cNvPr>
            <p:cNvCxnSpPr/>
            <p:nvPr/>
          </p:nvCxnSpPr>
          <p:spPr>
            <a:xfrm>
              <a:off x="-1197429" y="1217529"/>
              <a:ext cx="0" cy="4262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B4B603-A95F-4B87-A7C7-7ADC6BB2DA04}"/>
              </a:ext>
            </a:extLst>
          </p:cNvPr>
          <p:cNvCxnSpPr/>
          <p:nvPr/>
        </p:nvCxnSpPr>
        <p:spPr>
          <a:xfrm>
            <a:off x="532596" y="1036439"/>
            <a:ext cx="10786425" cy="0"/>
          </a:xfrm>
          <a:prstGeom prst="line">
            <a:avLst/>
          </a:prstGeom>
          <a:ln w="254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ieren 18">
            <a:extLst>
              <a:ext uri="{FF2B5EF4-FFF2-40B4-BE49-F238E27FC236}">
                <a16:creationId xmlns:a16="http://schemas.microsoft.com/office/drawing/2014/main" id="{C1272079-1188-4C26-82BD-BD84F1150D72}"/>
              </a:ext>
            </a:extLst>
          </p:cNvPr>
          <p:cNvGrpSpPr/>
          <p:nvPr/>
        </p:nvGrpSpPr>
        <p:grpSpPr>
          <a:xfrm>
            <a:off x="971816" y="1502027"/>
            <a:ext cx="10805382" cy="4751358"/>
            <a:chOff x="1410926" y="2071572"/>
            <a:chExt cx="9326129" cy="3715214"/>
          </a:xfrm>
        </p:grpSpPr>
        <p:grpSp>
          <p:nvGrpSpPr>
            <p:cNvPr id="19" name="Gruppieren 15">
              <a:extLst>
                <a:ext uri="{FF2B5EF4-FFF2-40B4-BE49-F238E27FC236}">
                  <a16:creationId xmlns:a16="http://schemas.microsoft.com/office/drawing/2014/main" id="{E3893893-251A-4A76-99FF-FE885450C8C9}"/>
                </a:ext>
              </a:extLst>
            </p:cNvPr>
            <p:cNvGrpSpPr/>
            <p:nvPr/>
          </p:nvGrpSpPr>
          <p:grpSpPr>
            <a:xfrm>
              <a:off x="1410926" y="2122095"/>
              <a:ext cx="6476733" cy="3127233"/>
              <a:chOff x="1410926" y="2122095"/>
              <a:chExt cx="6476733" cy="3127233"/>
            </a:xfrm>
          </p:grpSpPr>
          <p:sp>
            <p:nvSpPr>
              <p:cNvPr id="34" name="Freeform 4">
                <a:extLst>
                  <a:ext uri="{FF2B5EF4-FFF2-40B4-BE49-F238E27FC236}">
                    <a16:creationId xmlns:a16="http://schemas.microsoft.com/office/drawing/2014/main" id="{94EFDC02-532A-42D0-BE05-998CB715955F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4506124" y="2333954"/>
                <a:ext cx="3056756" cy="2791602"/>
              </a:xfrm>
              <a:custGeom>
                <a:avLst/>
                <a:gdLst>
                  <a:gd name="T0" fmla="*/ 672 w 672"/>
                  <a:gd name="T1" fmla="*/ 333 h 665"/>
                  <a:gd name="T2" fmla="*/ 166 w 672"/>
                  <a:gd name="T3" fmla="*/ 0 h 665"/>
                  <a:gd name="T4" fmla="*/ 1 w 672"/>
                  <a:gd name="T5" fmla="*/ 333 h 665"/>
                  <a:gd name="T6" fmla="*/ 162 w 672"/>
                  <a:gd name="T7" fmla="*/ 665 h 665"/>
                  <a:gd name="T8" fmla="*/ 672 w 672"/>
                  <a:gd name="T9" fmla="*/ 333 h 665"/>
                  <a:gd name="connsiteX0" fmla="*/ 9986 w 9986"/>
                  <a:gd name="connsiteY0" fmla="*/ 4405 h 9397"/>
                  <a:gd name="connsiteX1" fmla="*/ 1709 w 9986"/>
                  <a:gd name="connsiteY1" fmla="*/ 26 h 9397"/>
                  <a:gd name="connsiteX2" fmla="*/ 1 w 9986"/>
                  <a:gd name="connsiteY2" fmla="*/ 4405 h 9397"/>
                  <a:gd name="connsiteX3" fmla="*/ 2397 w 9986"/>
                  <a:gd name="connsiteY3" fmla="*/ 9397 h 9397"/>
                  <a:gd name="connsiteX4" fmla="*/ 9986 w 9986"/>
                  <a:gd name="connsiteY4" fmla="*/ 4405 h 9397"/>
                  <a:gd name="connsiteX0" fmla="*/ 10000 w 10000"/>
                  <a:gd name="connsiteY0" fmla="*/ 4660 h 9972"/>
                  <a:gd name="connsiteX1" fmla="*/ 1711 w 10000"/>
                  <a:gd name="connsiteY1" fmla="*/ 0 h 9972"/>
                  <a:gd name="connsiteX2" fmla="*/ 1 w 10000"/>
                  <a:gd name="connsiteY2" fmla="*/ 4660 h 9972"/>
                  <a:gd name="connsiteX3" fmla="*/ 2400 w 10000"/>
                  <a:gd name="connsiteY3" fmla="*/ 9972 h 9972"/>
                  <a:gd name="connsiteX4" fmla="*/ 10000 w 10000"/>
                  <a:gd name="connsiteY4" fmla="*/ 4660 h 9972"/>
                  <a:gd name="connsiteX0" fmla="*/ 10000 w 10000"/>
                  <a:gd name="connsiteY0" fmla="*/ 4673 h 9597"/>
                  <a:gd name="connsiteX1" fmla="*/ 1711 w 10000"/>
                  <a:gd name="connsiteY1" fmla="*/ 0 h 9597"/>
                  <a:gd name="connsiteX2" fmla="*/ 1 w 10000"/>
                  <a:gd name="connsiteY2" fmla="*/ 4673 h 9597"/>
                  <a:gd name="connsiteX3" fmla="*/ 1964 w 10000"/>
                  <a:gd name="connsiteY3" fmla="*/ 9597 h 9597"/>
                  <a:gd name="connsiteX4" fmla="*/ 10000 w 10000"/>
                  <a:gd name="connsiteY4" fmla="*/ 4673 h 9597"/>
                  <a:gd name="connsiteX0" fmla="*/ 10000 w 10000"/>
                  <a:gd name="connsiteY0" fmla="*/ 4869 h 10000"/>
                  <a:gd name="connsiteX1" fmla="*/ 1711 w 10000"/>
                  <a:gd name="connsiteY1" fmla="*/ 0 h 10000"/>
                  <a:gd name="connsiteX2" fmla="*/ 1 w 10000"/>
                  <a:gd name="connsiteY2" fmla="*/ 4869 h 10000"/>
                  <a:gd name="connsiteX3" fmla="*/ 1964 w 10000"/>
                  <a:gd name="connsiteY3" fmla="*/ 10000 h 10000"/>
                  <a:gd name="connsiteX4" fmla="*/ 10000 w 10000"/>
                  <a:gd name="connsiteY4" fmla="*/ 4869 h 10000"/>
                  <a:gd name="connsiteX0" fmla="*/ 10000 w 10000"/>
                  <a:gd name="connsiteY0" fmla="*/ 4869 h 10000"/>
                  <a:gd name="connsiteX1" fmla="*/ 1711 w 10000"/>
                  <a:gd name="connsiteY1" fmla="*/ 0 h 10000"/>
                  <a:gd name="connsiteX2" fmla="*/ 1 w 10000"/>
                  <a:gd name="connsiteY2" fmla="*/ 4869 h 10000"/>
                  <a:gd name="connsiteX3" fmla="*/ 1964 w 10000"/>
                  <a:gd name="connsiteY3" fmla="*/ 10000 h 10000"/>
                  <a:gd name="connsiteX4" fmla="*/ 10000 w 10000"/>
                  <a:gd name="connsiteY4" fmla="*/ 486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00" h="10000">
                    <a:moveTo>
                      <a:pt x="10000" y="4869"/>
                    </a:moveTo>
                    <a:lnTo>
                      <a:pt x="1711" y="0"/>
                    </a:lnTo>
                    <a:cubicBezTo>
                      <a:pt x="177" y="1305"/>
                      <a:pt x="16" y="2645"/>
                      <a:pt x="1" y="4869"/>
                    </a:cubicBezTo>
                    <a:cubicBezTo>
                      <a:pt x="-14" y="6908"/>
                      <a:pt x="575" y="8460"/>
                      <a:pt x="1964" y="10000"/>
                    </a:cubicBezTo>
                    <a:cubicBezTo>
                      <a:pt x="4643" y="8220"/>
                      <a:pt x="7321" y="6579"/>
                      <a:pt x="10000" y="4869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AEAEAE">
                      <a:gamma/>
                      <a:tint val="0"/>
                      <a:invGamma/>
                      <a:alpha val="0"/>
                    </a:srgbClr>
                  </a:gs>
                  <a:gs pos="100000">
                    <a:srgbClr val="C0C0C0">
                      <a:lumMod val="74000"/>
                      <a:lumOff val="26000"/>
                    </a:srgbClr>
                  </a:gs>
                </a:gsLst>
                <a:lin ang="0" scaled="1"/>
              </a:gradFill>
              <a:ln w="19050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7" name="Line 73">
                <a:extLst>
                  <a:ext uri="{FF2B5EF4-FFF2-40B4-BE49-F238E27FC236}">
                    <a16:creationId xmlns:a16="http://schemas.microsoft.com/office/drawing/2014/main" id="{8D276B08-5B70-4BAB-A9A1-2E91E11170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21205598" flipV="1">
                <a:off x="5605817" y="2944415"/>
                <a:ext cx="1245182" cy="481716"/>
              </a:xfrm>
              <a:prstGeom prst="line">
                <a:avLst/>
              </a:prstGeom>
              <a:noFill/>
              <a:ln w="19050">
                <a:solidFill>
                  <a:schemeClr val="accent1"/>
                </a:solidFill>
                <a:prstDash val="sysDot"/>
                <a:round/>
                <a:headEnd/>
                <a:tailEnd type="triangle" w="lg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38" name="Line 74">
                <a:extLst>
                  <a:ext uri="{FF2B5EF4-FFF2-40B4-BE49-F238E27FC236}">
                    <a16:creationId xmlns:a16="http://schemas.microsoft.com/office/drawing/2014/main" id="{9D2B86C8-7024-43D5-95D8-1C587CE6FC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67050">
                <a:off x="5579460" y="4043452"/>
                <a:ext cx="1214692" cy="462022"/>
              </a:xfrm>
              <a:prstGeom prst="line">
                <a:avLst/>
              </a:prstGeom>
              <a:noFill/>
              <a:ln w="19050">
                <a:solidFill>
                  <a:schemeClr val="accent1"/>
                </a:solidFill>
                <a:prstDash val="sysDot"/>
                <a:round/>
                <a:headEnd/>
                <a:tailEnd type="triangle" w="lg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39" name="Line 75">
                <a:extLst>
                  <a:ext uri="{FF2B5EF4-FFF2-40B4-BE49-F238E27FC236}">
                    <a16:creationId xmlns:a16="http://schemas.microsoft.com/office/drawing/2014/main" id="{BD72C753-1C03-4F14-B680-ADC1EF9379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232545" flipV="1">
                <a:off x="5654201" y="3538430"/>
                <a:ext cx="1198684" cy="443911"/>
              </a:xfrm>
              <a:prstGeom prst="line">
                <a:avLst/>
              </a:prstGeom>
              <a:noFill/>
              <a:ln w="19050">
                <a:solidFill>
                  <a:schemeClr val="accent1"/>
                </a:solidFill>
                <a:prstDash val="sysDot"/>
                <a:round/>
                <a:headEnd/>
                <a:tailEnd type="triangle" w="lg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40" name="Freeform 4">
                <a:extLst>
                  <a:ext uri="{FF2B5EF4-FFF2-40B4-BE49-F238E27FC236}">
                    <a16:creationId xmlns:a16="http://schemas.microsoft.com/office/drawing/2014/main" id="{7C5117F3-1CC7-4DF7-97A6-53DA9A4209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8166" y="2219538"/>
                <a:ext cx="3061041" cy="3029790"/>
              </a:xfrm>
              <a:custGeom>
                <a:avLst/>
                <a:gdLst>
                  <a:gd name="T0" fmla="*/ 672 w 672"/>
                  <a:gd name="T1" fmla="*/ 333 h 665"/>
                  <a:gd name="T2" fmla="*/ 166 w 672"/>
                  <a:gd name="T3" fmla="*/ 0 h 665"/>
                  <a:gd name="T4" fmla="*/ 1 w 672"/>
                  <a:gd name="T5" fmla="*/ 333 h 665"/>
                  <a:gd name="T6" fmla="*/ 162 w 672"/>
                  <a:gd name="T7" fmla="*/ 665 h 665"/>
                  <a:gd name="T8" fmla="*/ 672 w 672"/>
                  <a:gd name="T9" fmla="*/ 333 h 6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2" h="665">
                    <a:moveTo>
                      <a:pt x="672" y="333"/>
                    </a:moveTo>
                    <a:cubicBezTo>
                      <a:pt x="166" y="0"/>
                      <a:pt x="166" y="0"/>
                      <a:pt x="166" y="0"/>
                    </a:cubicBezTo>
                    <a:cubicBezTo>
                      <a:pt x="63" y="78"/>
                      <a:pt x="2" y="200"/>
                      <a:pt x="1" y="333"/>
                    </a:cubicBezTo>
                    <a:cubicBezTo>
                      <a:pt x="0" y="455"/>
                      <a:pt x="50" y="575"/>
                      <a:pt x="162" y="665"/>
                    </a:cubicBezTo>
                    <a:lnTo>
                      <a:pt x="672" y="33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AEAEAE">
                      <a:gamma/>
                      <a:tint val="0"/>
                      <a:invGamma/>
                      <a:alpha val="0"/>
                    </a:srgbClr>
                  </a:gs>
                  <a:gs pos="100000">
                    <a:srgbClr val="C0C0C0">
                      <a:lumMod val="74000"/>
                      <a:lumOff val="26000"/>
                    </a:srgbClr>
                  </a:gs>
                </a:gsLst>
                <a:lin ang="0" scaled="1"/>
              </a:gradFill>
              <a:ln w="19050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8" name="Oval 29">
                <a:extLst>
                  <a:ext uri="{FF2B5EF4-FFF2-40B4-BE49-F238E27FC236}">
                    <a16:creationId xmlns:a16="http://schemas.microsoft.com/office/drawing/2014/main" id="{AB58BD70-3CB5-4A3E-A4E0-EFD7B30C6CF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6810194" y="4264812"/>
                <a:ext cx="900000" cy="900000"/>
              </a:xfrm>
              <a:prstGeom prst="ellipse">
                <a:avLst/>
              </a:prstGeom>
              <a:gradFill flip="none" rotWithShape="1">
                <a:gsLst>
                  <a:gs pos="0">
                    <a:srgbClr val="E6E6E6">
                      <a:lumMod val="51000"/>
                      <a:lumOff val="49000"/>
                    </a:srgbClr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round/>
                <a:headEnd/>
                <a:tailEnd/>
              </a:ln>
              <a:effectLst/>
            </p:spPr>
            <p:txBody>
              <a:bodyPr lIns="72000" rIns="72000" rtlCol="0" anchor="ctr"/>
              <a:lstStyle/>
              <a:p>
                <a:pPr algn="ctr"/>
                <a:endParaRPr lang="de-DE" noProof="1">
                  <a:solidFill>
                    <a:prstClr val="black"/>
                  </a:solidFill>
                </a:endParaRPr>
              </a:p>
            </p:txBody>
          </p:sp>
          <p:sp>
            <p:nvSpPr>
              <p:cNvPr id="63" name="Oval 29">
                <a:extLst>
                  <a:ext uri="{FF2B5EF4-FFF2-40B4-BE49-F238E27FC236}">
                    <a16:creationId xmlns:a16="http://schemas.microsoft.com/office/drawing/2014/main" id="{EB558F31-5D59-4513-B327-5593AC1938E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410926" y="3238192"/>
                <a:ext cx="1181210" cy="1181210"/>
              </a:xfrm>
              <a:prstGeom prst="ellipse">
                <a:avLst/>
              </a:prstGeom>
              <a:gradFill flip="none" rotWithShape="1">
                <a:gsLst>
                  <a:gs pos="0">
                    <a:srgbClr val="E6E6E6">
                      <a:lumMod val="51000"/>
                      <a:lumOff val="49000"/>
                    </a:srgbClr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round/>
                <a:headEnd/>
                <a:tailEnd/>
              </a:ln>
              <a:effectLst/>
            </p:spPr>
            <p:txBody>
              <a:bodyPr lIns="72000" rIns="72000" rtlCol="0" anchor="ctr"/>
              <a:lstStyle/>
              <a:p>
                <a:pPr algn="ctr"/>
                <a:endParaRPr lang="de-DE" noProof="1">
                  <a:solidFill>
                    <a:prstClr val="black"/>
                  </a:solidFill>
                </a:endParaRPr>
              </a:p>
            </p:txBody>
          </p:sp>
          <p:sp>
            <p:nvSpPr>
              <p:cNvPr id="57" name="Oval 29">
                <a:extLst>
                  <a:ext uri="{FF2B5EF4-FFF2-40B4-BE49-F238E27FC236}">
                    <a16:creationId xmlns:a16="http://schemas.microsoft.com/office/drawing/2014/main" id="{255B06E9-676F-46A3-A141-37E23CC1B95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6810194" y="2122095"/>
                <a:ext cx="900000" cy="900000"/>
              </a:xfrm>
              <a:prstGeom prst="ellipse">
                <a:avLst/>
              </a:prstGeom>
              <a:gradFill flip="none" rotWithShape="1">
                <a:gsLst>
                  <a:gs pos="0">
                    <a:srgbClr val="E6E6E6">
                      <a:lumMod val="51000"/>
                      <a:lumOff val="49000"/>
                    </a:srgbClr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round/>
                <a:headEnd/>
                <a:tailEnd/>
              </a:ln>
              <a:effectLst/>
            </p:spPr>
            <p:txBody>
              <a:bodyPr lIns="72000" rIns="72000" rtlCol="0" anchor="ctr"/>
              <a:lstStyle/>
              <a:p>
                <a:pPr algn="ctr"/>
                <a:endParaRPr lang="de-DE" noProof="1">
                  <a:solidFill>
                    <a:prstClr val="black"/>
                  </a:solidFill>
                </a:endParaRPr>
              </a:p>
              <a:p>
                <a:pPr algn="ctr"/>
                <a:endParaRPr lang="de-DE" noProof="1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Oval 29">
                <a:extLst>
                  <a:ext uri="{FF2B5EF4-FFF2-40B4-BE49-F238E27FC236}">
                    <a16:creationId xmlns:a16="http://schemas.microsoft.com/office/drawing/2014/main" id="{49073132-CA04-49AC-BC5A-D859EAE7EE6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6987659" y="3238210"/>
                <a:ext cx="900000" cy="900000"/>
              </a:xfrm>
              <a:prstGeom prst="ellipse">
                <a:avLst/>
              </a:prstGeom>
              <a:gradFill flip="none" rotWithShape="1">
                <a:gsLst>
                  <a:gs pos="0">
                    <a:srgbClr val="E6E6E6">
                      <a:lumMod val="51000"/>
                      <a:lumOff val="49000"/>
                    </a:srgbClr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round/>
                <a:headEnd/>
                <a:tailEnd/>
              </a:ln>
              <a:effectLst/>
            </p:spPr>
            <p:txBody>
              <a:bodyPr lIns="72000" rIns="72000" rtlCol="0" anchor="ctr"/>
              <a:lstStyle/>
              <a:p>
                <a:pPr algn="ctr"/>
                <a:endParaRPr lang="de-DE" noProof="1">
                  <a:solidFill>
                    <a:prstClr val="black"/>
                  </a:solidFill>
                </a:endParaRPr>
              </a:p>
            </p:txBody>
          </p:sp>
          <p:sp>
            <p:nvSpPr>
              <p:cNvPr id="45" name="Line 75">
                <a:extLst>
                  <a:ext uri="{FF2B5EF4-FFF2-40B4-BE49-F238E27FC236}">
                    <a16:creationId xmlns:a16="http://schemas.microsoft.com/office/drawing/2014/main" id="{E13C0424-B770-4C0D-BE35-8896F9DB45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232545" flipV="1">
                <a:off x="2696054" y="3585360"/>
                <a:ext cx="798392" cy="305818"/>
              </a:xfrm>
              <a:prstGeom prst="line">
                <a:avLst/>
              </a:prstGeom>
              <a:noFill/>
              <a:ln w="19050">
                <a:solidFill>
                  <a:schemeClr val="accent1"/>
                </a:solidFill>
                <a:prstDash val="sysDot"/>
                <a:round/>
                <a:headEnd/>
                <a:tailEnd type="triangle" w="lg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47" name="Oval 5">
                <a:extLst>
                  <a:ext uri="{FF2B5EF4-FFF2-40B4-BE49-F238E27FC236}">
                    <a16:creationId xmlns:a16="http://schemas.microsoft.com/office/drawing/2014/main" id="{BD9A24F3-935C-4D50-9DD2-13B96001D8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1686" y="2749154"/>
                <a:ext cx="1970558" cy="1970558"/>
              </a:xfrm>
              <a:prstGeom prst="ellipse">
                <a:avLst/>
              </a:prstGeom>
              <a:gradFill flip="none" rotWithShape="1">
                <a:gsLst>
                  <a:gs pos="0">
                    <a:srgbClr val="E6E6E6">
                      <a:lumMod val="51000"/>
                      <a:lumOff val="49000"/>
                    </a:srgbClr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round/>
                <a:headEnd/>
                <a:tailEnd/>
              </a:ln>
              <a:effectLst/>
            </p:spPr>
            <p:txBody>
              <a:bodyPr lIns="72000" rIns="72000" rtlCol="0" anchor="ctr"/>
              <a:lstStyle/>
              <a:p>
                <a:pPr algn="ctr"/>
                <a:endParaRPr lang="en-US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8" name="Rectangle 114">
              <a:extLst>
                <a:ext uri="{FF2B5EF4-FFF2-40B4-BE49-F238E27FC236}">
                  <a16:creationId xmlns:a16="http://schemas.microsoft.com/office/drawing/2014/main" id="{484D673A-DFCF-4EE4-B273-8E04FCA0E6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89342" y="2071572"/>
              <a:ext cx="2982643" cy="1208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en-GB" altLang="en-US" sz="12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gh Utilizer, High Needs and High Member Interactions:</a:t>
              </a:r>
            </a:p>
            <a:p>
              <a:pPr marL="171450" indent="-171450" eaLnBrk="1" hangingPunct="1">
                <a:spcBef>
                  <a:spcPct val="20000"/>
                </a:spcBef>
                <a:buFont typeface="Arial" panose="020B0604020202020204" pitchFamily="34" charset="0"/>
                <a:buChar char="•"/>
              </a:pPr>
              <a:r>
                <a:rPr lang="en-GB" altLang="en-US" sz="11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arge population (N=19,138) with </a:t>
              </a:r>
              <a:r>
                <a:rPr lang="en-GB" altLang="en-US" sz="1100" b="1" dirty="0">
                  <a:solidFill>
                    <a:srgbClr val="00B05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gh medical costs and utilization</a:t>
              </a:r>
              <a:r>
                <a:rPr lang="en-GB" altLang="en-US" sz="1100" dirty="0">
                  <a:solidFill>
                    <a:srgbClr val="00B05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</a:t>
              </a:r>
              <a:r>
                <a:rPr lang="en-GB" altLang="en-US" sz="1100" b="1" dirty="0">
                  <a:solidFill>
                    <a:srgbClr val="00B05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gh distinct GPI</a:t>
              </a:r>
              <a:r>
                <a:rPr lang="en-GB" altLang="en-US" sz="11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medium noncompliance rates in HEDIS and Patient Safety measures, </a:t>
              </a:r>
              <a:r>
                <a:rPr lang="en-GB" altLang="en-US" sz="1100" b="1" dirty="0">
                  <a:solidFill>
                    <a:srgbClr val="00B05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gh portion of HNG </a:t>
              </a:r>
              <a:r>
                <a:rPr lang="en-GB" altLang="en-US" sz="11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nd </a:t>
              </a:r>
              <a:r>
                <a:rPr lang="en-GB" altLang="en-US" sz="1100" b="1" dirty="0">
                  <a:solidFill>
                    <a:srgbClr val="00B05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gh member interaction</a:t>
              </a:r>
              <a:r>
                <a:rPr lang="en-GB" altLang="en-US" sz="11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  </a:t>
              </a:r>
            </a:p>
            <a:p>
              <a:pPr marL="171450" indent="-171450" eaLnBrk="1" hangingPunct="1">
                <a:spcBef>
                  <a:spcPct val="20000"/>
                </a:spcBef>
                <a:buFont typeface="Arial" panose="020B0604020202020204" pitchFamily="34" charset="0"/>
                <a:buChar char="•"/>
              </a:pPr>
              <a:r>
                <a:rPr lang="en-GB" altLang="en-US" sz="11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1.9 months of tenure and 73.9 years of age</a:t>
              </a:r>
            </a:p>
          </p:txBody>
        </p:sp>
        <p:sp>
          <p:nvSpPr>
            <p:cNvPr id="29" name="Rectangle 115">
              <a:extLst>
                <a:ext uri="{FF2B5EF4-FFF2-40B4-BE49-F238E27FC236}">
                  <a16:creationId xmlns:a16="http://schemas.microsoft.com/office/drawing/2014/main" id="{C8069016-B081-4EA8-8EA7-1AA64D349C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34079" y="4446317"/>
              <a:ext cx="2902976" cy="13404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en-GB" altLang="en-US" sz="12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edium Utilizer, Medium noncompliance rates, and Medium Member Interactions:</a:t>
              </a:r>
            </a:p>
            <a:p>
              <a:pPr marL="171450" indent="-171450">
                <a:spcBef>
                  <a:spcPct val="20000"/>
                </a:spcBef>
                <a:buFont typeface="Arial" panose="020B0604020202020204" pitchFamily="34" charset="0"/>
                <a:buChar char="•"/>
              </a:pPr>
              <a:r>
                <a:rPr lang="en-GB" altLang="en-US" sz="11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mall population(N=3,745) with</a:t>
              </a:r>
              <a:r>
                <a:rPr lang="en-GB" altLang="en-US" sz="1100" b="1" dirty="0">
                  <a:solidFill>
                    <a:srgbClr val="7030A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medium medical costs and utilization</a:t>
              </a:r>
              <a:r>
                <a:rPr lang="en-GB" altLang="en-US" sz="1100" dirty="0">
                  <a:solidFill>
                    <a:srgbClr val="7030A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</a:t>
              </a:r>
              <a:r>
                <a:rPr lang="en-GB" altLang="en-US" sz="11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edium distinct GPI, </a:t>
              </a:r>
              <a:r>
                <a:rPr lang="en-GB" altLang="en-US" sz="1100" b="1" dirty="0">
                  <a:solidFill>
                    <a:srgbClr val="7030A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edium compliance rates in HEDIS and Patient Safety measures</a:t>
              </a:r>
              <a:r>
                <a:rPr lang="en-GB" altLang="en-US" sz="1100" dirty="0">
                  <a:solidFill>
                    <a:srgbClr val="7030A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</a:t>
              </a:r>
              <a:r>
                <a:rPr lang="en-GB" altLang="en-US" sz="1100" b="1" dirty="0">
                  <a:solidFill>
                    <a:srgbClr val="7030A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edium portion of HNG</a:t>
              </a:r>
              <a:r>
                <a:rPr lang="en-GB" altLang="en-US" sz="11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and </a:t>
              </a:r>
              <a:r>
                <a:rPr lang="en-GB" altLang="en-US" sz="1100" b="1" dirty="0">
                  <a:solidFill>
                    <a:srgbClr val="7030A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edium member interaction</a:t>
              </a:r>
              <a:r>
                <a:rPr lang="en-GB" altLang="en-US" sz="11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  </a:t>
              </a:r>
            </a:p>
            <a:p>
              <a:pPr marL="171450" indent="-171450">
                <a:spcBef>
                  <a:spcPct val="20000"/>
                </a:spcBef>
                <a:buFont typeface="Arial" panose="020B0604020202020204" pitchFamily="34" charset="0"/>
                <a:buChar char="•"/>
              </a:pPr>
              <a:r>
                <a:rPr lang="en-GB" altLang="en-US" sz="11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33.8 months of tenure and 74.5 years of age</a:t>
              </a:r>
              <a:endParaRPr lang="en-GB" altLang="en-US" sz="11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0" name="Rectangle 116">
              <a:extLst>
                <a:ext uri="{FF2B5EF4-FFF2-40B4-BE49-F238E27FC236}">
                  <a16:creationId xmlns:a16="http://schemas.microsoft.com/office/drawing/2014/main" id="{0A89387C-BD4C-475F-92D3-3EE428F204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56490" y="3226019"/>
              <a:ext cx="2890048" cy="1208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en-GB" altLang="en-US" sz="12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ow Utilizer, High Noncompliance rates in HEDIS and No Member Interactions:</a:t>
              </a:r>
            </a:p>
            <a:p>
              <a:pPr marL="171450" indent="-171450">
                <a:spcBef>
                  <a:spcPct val="20000"/>
                </a:spcBef>
                <a:buFont typeface="Arial" panose="020B0604020202020204" pitchFamily="34" charset="0"/>
                <a:buChar char="•"/>
              </a:pPr>
              <a:r>
                <a:rPr lang="en-GB" altLang="en-US" sz="11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edium population (N=5,966) with </a:t>
              </a:r>
              <a:r>
                <a:rPr lang="en-GB" altLang="en-US" sz="1100" b="1" dirty="0">
                  <a:solidFill>
                    <a:srgbClr val="FF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ow medical costs and utilization</a:t>
              </a:r>
              <a:r>
                <a:rPr lang="en-GB" altLang="en-US" sz="1100" dirty="0">
                  <a:solidFill>
                    <a:srgbClr val="FF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</a:t>
              </a:r>
              <a:r>
                <a:rPr lang="en-GB" altLang="en-US" sz="1100" dirty="0">
                  <a:solidFill>
                    <a:srgbClr val="00B05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GB" altLang="en-US" sz="11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ow distinct GPI, </a:t>
              </a:r>
              <a:r>
                <a:rPr lang="en-GB" altLang="en-US" sz="1100" b="1" dirty="0">
                  <a:solidFill>
                    <a:srgbClr val="FF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gh noncompliance rates in HEDIS and Patient Safety measures</a:t>
              </a:r>
              <a:r>
                <a:rPr lang="en-GB" altLang="en-US" sz="1100" dirty="0">
                  <a:solidFill>
                    <a:srgbClr val="FF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</a:t>
              </a:r>
              <a:r>
                <a:rPr lang="en-GB" altLang="en-US" sz="1100" b="1" dirty="0">
                  <a:solidFill>
                    <a:srgbClr val="FF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ow portion of HNG</a:t>
              </a:r>
              <a:r>
                <a:rPr lang="en-GB" altLang="en-US" sz="11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and </a:t>
              </a:r>
              <a:r>
                <a:rPr lang="en-GB" altLang="en-US" sz="1100" b="1" dirty="0">
                  <a:solidFill>
                    <a:srgbClr val="FF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ow member interaction</a:t>
              </a:r>
              <a:r>
                <a:rPr lang="en-GB" altLang="en-US" sz="11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  </a:t>
              </a:r>
            </a:p>
            <a:p>
              <a:pPr marL="171450" indent="-171450">
                <a:spcBef>
                  <a:spcPct val="20000"/>
                </a:spcBef>
                <a:buFont typeface="Arial" panose="020B0604020202020204" pitchFamily="34" charset="0"/>
                <a:buChar char="•"/>
              </a:pPr>
              <a:r>
                <a:rPr lang="en-GB" altLang="en-US" sz="11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30.1 months of tenure and 74.0 years of age</a:t>
              </a:r>
            </a:p>
          </p:txBody>
        </p:sp>
        <p:sp>
          <p:nvSpPr>
            <p:cNvPr id="31" name="Rectangle 40">
              <a:extLst>
                <a:ext uri="{FF2B5EF4-FFF2-40B4-BE49-F238E27FC236}">
                  <a16:creationId xmlns:a16="http://schemas.microsoft.com/office/drawing/2014/main" id="{42A6D743-FDCF-4737-8172-406030E1DA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0714" y="2145792"/>
              <a:ext cx="1512500" cy="3690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 eaLnBrk="1" hangingPunct="1">
                <a:spcBef>
                  <a:spcPct val="20000"/>
                </a:spcBef>
              </a:pPr>
              <a:r>
                <a:rPr lang="en-GB" altLang="en-US" sz="24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lustering</a:t>
              </a:r>
            </a:p>
          </p:txBody>
        </p:sp>
        <p:sp>
          <p:nvSpPr>
            <p:cNvPr id="33" name="Rectangle 115">
              <a:extLst>
                <a:ext uri="{FF2B5EF4-FFF2-40B4-BE49-F238E27FC236}">
                  <a16:creationId xmlns:a16="http://schemas.microsoft.com/office/drawing/2014/main" id="{6C177046-43BD-4A06-8CC3-9E69191F52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7983" y="4456091"/>
              <a:ext cx="1079448" cy="7267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 eaLnBrk="1" hangingPunct="1">
                <a:spcBef>
                  <a:spcPct val="20000"/>
                </a:spcBef>
              </a:pPr>
              <a:r>
                <a:rPr lang="en-GB" altLang="en-US" sz="16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edicted</a:t>
              </a:r>
            </a:p>
            <a:p>
              <a:pPr algn="ctr" eaLnBrk="1" hangingPunct="1">
                <a:spcBef>
                  <a:spcPct val="20000"/>
                </a:spcBef>
              </a:pPr>
              <a:r>
                <a:rPr lang="en-GB" altLang="en-US" sz="16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Veterans</a:t>
              </a:r>
            </a:p>
            <a:p>
              <a:pPr algn="ctr">
                <a:spcBef>
                  <a:spcPct val="20000"/>
                </a:spcBef>
              </a:pPr>
              <a:r>
                <a:rPr lang="en-GB" altLang="en-US" sz="16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(N=28,849)</a:t>
              </a:r>
            </a:p>
          </p:txBody>
        </p:sp>
      </p:grpSp>
      <p:pic>
        <p:nvPicPr>
          <p:cNvPr id="72" name="Graphic 71" descr="Users">
            <a:extLst>
              <a:ext uri="{FF2B5EF4-FFF2-40B4-BE49-F238E27FC236}">
                <a16:creationId xmlns:a16="http://schemas.microsoft.com/office/drawing/2014/main" id="{B247DB40-9A4A-484E-B451-3B8DBAF3C3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1357" y="3083122"/>
            <a:ext cx="1294840" cy="1294840"/>
          </a:xfrm>
          <a:prstGeom prst="rect">
            <a:avLst/>
          </a:prstGeom>
        </p:spPr>
      </p:pic>
      <p:grpSp>
        <p:nvGrpSpPr>
          <p:cNvPr id="73" name="Gruppieren 284">
            <a:extLst>
              <a:ext uri="{FF2B5EF4-FFF2-40B4-BE49-F238E27FC236}">
                <a16:creationId xmlns:a16="http://schemas.microsoft.com/office/drawing/2014/main" id="{988D4090-3F44-47C6-B5FE-576611A36CC5}"/>
              </a:ext>
            </a:extLst>
          </p:cNvPr>
          <p:cNvGrpSpPr/>
          <p:nvPr/>
        </p:nvGrpSpPr>
        <p:grpSpPr bwMode="gray">
          <a:xfrm>
            <a:off x="3048814" y="2977988"/>
            <a:ext cx="2908463" cy="1629627"/>
            <a:chOff x="4875566" y="1041545"/>
            <a:chExt cx="3643393" cy="2147290"/>
          </a:xfrm>
        </p:grpSpPr>
        <p:grpSp>
          <p:nvGrpSpPr>
            <p:cNvPr id="74" name="Gruppieren 14">
              <a:extLst>
                <a:ext uri="{FF2B5EF4-FFF2-40B4-BE49-F238E27FC236}">
                  <a16:creationId xmlns:a16="http://schemas.microsoft.com/office/drawing/2014/main" id="{4967776A-59F0-459F-BFEA-379B52E1BFBC}"/>
                </a:ext>
              </a:extLst>
            </p:cNvPr>
            <p:cNvGrpSpPr/>
            <p:nvPr/>
          </p:nvGrpSpPr>
          <p:grpSpPr bwMode="gray">
            <a:xfrm>
              <a:off x="5313841" y="1041545"/>
              <a:ext cx="3205118" cy="1854329"/>
              <a:chOff x="5313841" y="1067108"/>
              <a:chExt cx="3205118" cy="1854329"/>
            </a:xfrm>
          </p:grpSpPr>
          <p:sp>
            <p:nvSpPr>
              <p:cNvPr id="91" name="Ellipse 233">
                <a:extLst>
                  <a:ext uri="{FF2B5EF4-FFF2-40B4-BE49-F238E27FC236}">
                    <a16:creationId xmlns:a16="http://schemas.microsoft.com/office/drawing/2014/main" id="{F5E2B7BE-35C1-4C5B-A79A-85C482AA43FF}"/>
                  </a:ext>
                </a:extLst>
              </p:cNvPr>
              <p:cNvSpPr/>
              <p:nvPr/>
            </p:nvSpPr>
            <p:spPr bwMode="gray">
              <a:xfrm>
                <a:off x="5313841" y="2400615"/>
                <a:ext cx="3205118" cy="520822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4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>
                  <a:solidFill>
                    <a:srgbClr val="1A1812"/>
                  </a:solidFill>
                </a:endParaRPr>
              </a:p>
            </p:txBody>
          </p:sp>
          <p:grpSp>
            <p:nvGrpSpPr>
              <p:cNvPr id="92" name="Group 1633">
                <a:extLst>
                  <a:ext uri="{FF2B5EF4-FFF2-40B4-BE49-F238E27FC236}">
                    <a16:creationId xmlns:a16="http://schemas.microsoft.com/office/drawing/2014/main" id="{579270D7-7E1C-4058-9B99-5F3BB289CA8B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5569176" y="1067108"/>
                <a:ext cx="2318539" cy="1732469"/>
                <a:chOff x="1606" y="2518"/>
                <a:chExt cx="1171" cy="875"/>
              </a:xfrm>
              <a:effectLst/>
            </p:grpSpPr>
            <p:grpSp>
              <p:nvGrpSpPr>
                <p:cNvPr id="93" name="Group 1634">
                  <a:extLst>
                    <a:ext uri="{FF2B5EF4-FFF2-40B4-BE49-F238E27FC236}">
                      <a16:creationId xmlns:a16="http://schemas.microsoft.com/office/drawing/2014/main" id="{0DB3FBF3-63C9-4633-9BB0-59B302BBB3C9}"/>
                    </a:ext>
                  </a:extLst>
                </p:cNvPr>
                <p:cNvGrpSpPr>
                  <a:grpSpLocks/>
                </p:cNvGrpSpPr>
                <p:nvPr/>
              </p:nvGrpSpPr>
              <p:grpSpPr bwMode="gray">
                <a:xfrm>
                  <a:off x="1606" y="2518"/>
                  <a:ext cx="1171" cy="875"/>
                  <a:chOff x="4352" y="2518"/>
                  <a:chExt cx="1171" cy="875"/>
                </a:xfrm>
              </p:grpSpPr>
              <p:sp>
                <p:nvSpPr>
                  <p:cNvPr id="95" name="Freeform 1635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C90DBBCE-41EF-4DFE-A541-377AB185AA2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4352" y="3126"/>
                    <a:ext cx="1171" cy="208"/>
                  </a:xfrm>
                  <a:custGeom>
                    <a:avLst/>
                    <a:gdLst/>
                    <a:ahLst/>
                    <a:cxnLst>
                      <a:cxn ang="0">
                        <a:pos x="543" y="96"/>
                      </a:cxn>
                      <a:cxn ang="0">
                        <a:pos x="543" y="96"/>
                      </a:cxn>
                      <a:cxn ang="0">
                        <a:pos x="541" y="92"/>
                      </a:cxn>
                      <a:cxn ang="0">
                        <a:pos x="460" y="8"/>
                      </a:cxn>
                      <a:cxn ang="0">
                        <a:pos x="443" y="0"/>
                      </a:cxn>
                      <a:cxn ang="0">
                        <a:pos x="100" y="0"/>
                      </a:cxn>
                      <a:cxn ang="0">
                        <a:pos x="84" y="7"/>
                      </a:cxn>
                      <a:cxn ang="0">
                        <a:pos x="3" y="92"/>
                      </a:cxn>
                      <a:cxn ang="0">
                        <a:pos x="0" y="96"/>
                      </a:cxn>
                      <a:cxn ang="0">
                        <a:pos x="0" y="96"/>
                      </a:cxn>
                      <a:cxn ang="0">
                        <a:pos x="543" y="96"/>
                      </a:cxn>
                    </a:cxnLst>
                    <a:rect l="0" t="0" r="r" b="b"/>
                    <a:pathLst>
                      <a:path w="543" h="96">
                        <a:moveTo>
                          <a:pt x="543" y="96"/>
                        </a:moveTo>
                        <a:cubicBezTo>
                          <a:pt x="543" y="96"/>
                          <a:pt x="543" y="96"/>
                          <a:pt x="543" y="96"/>
                        </a:cubicBezTo>
                        <a:cubicBezTo>
                          <a:pt x="543" y="94"/>
                          <a:pt x="542" y="93"/>
                          <a:pt x="541" y="92"/>
                        </a:cubicBezTo>
                        <a:cubicBezTo>
                          <a:pt x="460" y="8"/>
                          <a:pt x="460" y="8"/>
                          <a:pt x="460" y="8"/>
                        </a:cubicBezTo>
                        <a:cubicBezTo>
                          <a:pt x="456" y="4"/>
                          <a:pt x="449" y="0"/>
                          <a:pt x="443" y="0"/>
                        </a:cubicBezTo>
                        <a:cubicBezTo>
                          <a:pt x="100" y="0"/>
                          <a:pt x="100" y="0"/>
                          <a:pt x="100" y="0"/>
                        </a:cubicBezTo>
                        <a:cubicBezTo>
                          <a:pt x="95" y="0"/>
                          <a:pt x="87" y="4"/>
                          <a:pt x="84" y="7"/>
                        </a:cubicBezTo>
                        <a:cubicBezTo>
                          <a:pt x="3" y="92"/>
                          <a:pt x="3" y="92"/>
                          <a:pt x="3" y="92"/>
                        </a:cubicBezTo>
                        <a:cubicBezTo>
                          <a:pt x="1" y="93"/>
                          <a:pt x="0" y="95"/>
                          <a:pt x="0" y="96"/>
                        </a:cubicBezTo>
                        <a:cubicBezTo>
                          <a:pt x="0" y="96"/>
                          <a:pt x="0" y="96"/>
                          <a:pt x="0" y="96"/>
                        </a:cubicBezTo>
                        <a:lnTo>
                          <a:pt x="543" y="96"/>
                        </a:ln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949494"/>
                      </a:gs>
                      <a:gs pos="50000">
                        <a:srgbClr val="DDDDDD"/>
                      </a:gs>
                      <a:gs pos="100000">
                        <a:srgbClr val="949494"/>
                      </a:gs>
                    </a:gsLst>
                    <a:lin ang="540000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A1812"/>
                      </a:solidFill>
                    </a:endParaRPr>
                  </a:p>
                </p:txBody>
              </p:sp>
              <p:sp>
                <p:nvSpPr>
                  <p:cNvPr id="96" name="Freeform 1636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608E6585-C7AE-4921-BDF2-A7C345FCF40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4545" y="2546"/>
                    <a:ext cx="786" cy="573"/>
                  </a:xfrm>
                  <a:custGeom>
                    <a:avLst/>
                    <a:gdLst/>
                    <a:ahLst/>
                    <a:cxnLst>
                      <a:cxn ang="0">
                        <a:pos x="351" y="0"/>
                      </a:cxn>
                      <a:cxn ang="0">
                        <a:pos x="351" y="242"/>
                      </a:cxn>
                      <a:cxn ang="0">
                        <a:pos x="13" y="242"/>
                      </a:cxn>
                      <a:cxn ang="0">
                        <a:pos x="13" y="0"/>
                      </a:cxn>
                      <a:cxn ang="0">
                        <a:pos x="0" y="0"/>
                      </a:cxn>
                      <a:cxn ang="0">
                        <a:pos x="0" y="259"/>
                      </a:cxn>
                      <a:cxn ang="0">
                        <a:pos x="6" y="265"/>
                      </a:cxn>
                      <a:cxn ang="0">
                        <a:pos x="359" y="265"/>
                      </a:cxn>
                      <a:cxn ang="0">
                        <a:pos x="364" y="259"/>
                      </a:cxn>
                      <a:cxn ang="0">
                        <a:pos x="364" y="0"/>
                      </a:cxn>
                      <a:cxn ang="0">
                        <a:pos x="351" y="0"/>
                      </a:cxn>
                    </a:cxnLst>
                    <a:rect l="0" t="0" r="r" b="b"/>
                    <a:pathLst>
                      <a:path w="364" h="265">
                        <a:moveTo>
                          <a:pt x="351" y="0"/>
                        </a:moveTo>
                        <a:cubicBezTo>
                          <a:pt x="351" y="242"/>
                          <a:pt x="351" y="242"/>
                          <a:pt x="351" y="242"/>
                        </a:cubicBezTo>
                        <a:cubicBezTo>
                          <a:pt x="13" y="242"/>
                          <a:pt x="13" y="242"/>
                          <a:pt x="13" y="242"/>
                        </a:cubicBezTo>
                        <a:cubicBezTo>
                          <a:pt x="13" y="0"/>
                          <a:pt x="13" y="0"/>
                          <a:pt x="1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259"/>
                          <a:pt x="0" y="259"/>
                          <a:pt x="0" y="259"/>
                        </a:cubicBezTo>
                        <a:cubicBezTo>
                          <a:pt x="0" y="262"/>
                          <a:pt x="3" y="265"/>
                          <a:pt x="6" y="265"/>
                        </a:cubicBezTo>
                        <a:cubicBezTo>
                          <a:pt x="359" y="265"/>
                          <a:pt x="359" y="265"/>
                          <a:pt x="359" y="265"/>
                        </a:cubicBezTo>
                        <a:cubicBezTo>
                          <a:pt x="362" y="265"/>
                          <a:pt x="364" y="262"/>
                          <a:pt x="364" y="259"/>
                        </a:cubicBezTo>
                        <a:cubicBezTo>
                          <a:pt x="364" y="0"/>
                          <a:pt x="364" y="0"/>
                          <a:pt x="364" y="0"/>
                        </a:cubicBezTo>
                        <a:lnTo>
                          <a:pt x="351" y="0"/>
                        </a:ln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949494"/>
                      </a:gs>
                      <a:gs pos="50000">
                        <a:srgbClr val="DDDDDD"/>
                      </a:gs>
                      <a:gs pos="100000">
                        <a:srgbClr val="949494"/>
                      </a:gs>
                    </a:gsLst>
                    <a:lin ang="540000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A1812"/>
                      </a:solidFill>
                    </a:endParaRPr>
                  </a:p>
                </p:txBody>
              </p:sp>
              <p:grpSp>
                <p:nvGrpSpPr>
                  <p:cNvPr id="97" name="Group 1637">
                    <a:extLst>
                      <a:ext uri="{FF2B5EF4-FFF2-40B4-BE49-F238E27FC236}">
                        <a16:creationId xmlns:a16="http://schemas.microsoft.com/office/drawing/2014/main" id="{49B55E03-8716-470E-9F02-5BC539053508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gray">
                  <a:xfrm>
                    <a:off x="4574" y="2546"/>
                    <a:ext cx="730" cy="522"/>
                    <a:chOff x="4574" y="2546"/>
                    <a:chExt cx="730" cy="522"/>
                  </a:xfrm>
                </p:grpSpPr>
                <p:sp>
                  <p:nvSpPr>
                    <p:cNvPr id="109" name="Freeform 1638" descr="© INSCALE GmbH, 26.05.2010&#10;http://www.presentationload.com/">
                      <a:extLst>
                        <a:ext uri="{FF2B5EF4-FFF2-40B4-BE49-F238E27FC236}">
                          <a16:creationId xmlns:a16="http://schemas.microsoft.com/office/drawing/2014/main" id="{D5A0AD87-365C-480E-9951-A89EB296DE22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4935" y="2546"/>
                      <a:ext cx="369" cy="522"/>
                    </a:xfrm>
                    <a:custGeom>
                      <a:avLst/>
                      <a:gdLst/>
                      <a:ahLst/>
                      <a:cxnLst>
                        <a:cxn ang="0">
                          <a:pos x="404" y="0"/>
                        </a:cxn>
                        <a:cxn ang="0">
                          <a:pos x="0" y="0"/>
                        </a:cxn>
                        <a:cxn ang="0">
                          <a:pos x="217" y="571"/>
                        </a:cxn>
                        <a:cxn ang="0">
                          <a:pos x="404" y="571"/>
                        </a:cxn>
                        <a:cxn ang="0">
                          <a:pos x="404" y="0"/>
                        </a:cxn>
                      </a:cxnLst>
                      <a:rect l="0" t="0" r="r" b="b"/>
                      <a:pathLst>
                        <a:path w="404" h="571">
                          <a:moveTo>
                            <a:pt x="404" y="0"/>
                          </a:moveTo>
                          <a:lnTo>
                            <a:pt x="0" y="0"/>
                          </a:lnTo>
                          <a:lnTo>
                            <a:pt x="217" y="571"/>
                          </a:lnTo>
                          <a:lnTo>
                            <a:pt x="404" y="571"/>
                          </a:lnTo>
                          <a:lnTo>
                            <a:pt x="404" y="0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chemeClr val="accent1">
                            <a:lumMod val="50000"/>
                          </a:schemeClr>
                        </a:gs>
                        <a:gs pos="100000">
                          <a:schemeClr val="accent1"/>
                        </a:gs>
                      </a:gsLst>
                      <a:lin ang="5400000" scaled="1"/>
                    </a:gradFill>
                    <a:ln w="9525">
                      <a:gradFill flip="none" rotWithShape="1">
                        <a:gsLst>
                          <a:gs pos="0">
                            <a:schemeClr val="accent1">
                              <a:lumMod val="50000"/>
                            </a:schemeClr>
                          </a:gs>
                          <a:gs pos="100000">
                            <a:schemeClr val="accent1"/>
                          </a:gs>
                        </a:gsLst>
                        <a:lin ang="5400000" scaled="1"/>
                        <a:tileRect/>
                      </a:gra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>
                        <a:solidFill>
                          <a:srgbClr val="1A1812"/>
                        </a:solidFill>
                      </a:endParaRPr>
                    </a:p>
                  </p:txBody>
                </p:sp>
                <p:sp>
                  <p:nvSpPr>
                    <p:cNvPr id="110" name="Freeform 1639" descr="© INSCALE GmbH, 26.05.2010&#10;http://www.presentationload.com/">
                      <a:extLst>
                        <a:ext uri="{FF2B5EF4-FFF2-40B4-BE49-F238E27FC236}">
                          <a16:creationId xmlns:a16="http://schemas.microsoft.com/office/drawing/2014/main" id="{DA30658C-779F-4026-A0FD-D0FC1D156F84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4574" y="2627"/>
                      <a:ext cx="337" cy="441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482"/>
                        </a:cxn>
                        <a:cxn ang="0">
                          <a:pos x="369" y="482"/>
                        </a:cxn>
                        <a:cxn ang="0">
                          <a:pos x="0" y="0"/>
                        </a:cxn>
                        <a:cxn ang="0">
                          <a:pos x="0" y="482"/>
                        </a:cxn>
                      </a:cxnLst>
                      <a:rect l="0" t="0" r="r" b="b"/>
                      <a:pathLst>
                        <a:path w="369" h="482">
                          <a:moveTo>
                            <a:pt x="0" y="482"/>
                          </a:moveTo>
                          <a:lnTo>
                            <a:pt x="369" y="482"/>
                          </a:lnTo>
                          <a:lnTo>
                            <a:pt x="0" y="0"/>
                          </a:lnTo>
                          <a:lnTo>
                            <a:pt x="0" y="482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chemeClr val="accent1">
                            <a:lumMod val="50000"/>
                          </a:schemeClr>
                        </a:gs>
                        <a:gs pos="100000">
                          <a:schemeClr val="accent1"/>
                        </a:gs>
                      </a:gsLst>
                      <a:lin ang="5400000" scaled="1"/>
                    </a:gradFill>
                    <a:ln w="9525">
                      <a:gradFill flip="none" rotWithShape="1">
                        <a:gsLst>
                          <a:gs pos="0">
                            <a:schemeClr val="accent1">
                              <a:lumMod val="50000"/>
                            </a:schemeClr>
                          </a:gs>
                          <a:gs pos="100000">
                            <a:schemeClr val="accent1"/>
                          </a:gs>
                        </a:gsLst>
                        <a:lin ang="5400000" scaled="1"/>
                        <a:tileRect/>
                      </a:gra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>
                        <a:solidFill>
                          <a:srgbClr val="1A1812"/>
                        </a:solidFill>
                      </a:endParaRPr>
                    </a:p>
                  </p:txBody>
                </p:sp>
                <p:sp>
                  <p:nvSpPr>
                    <p:cNvPr id="111" name="Freeform 1640" descr="© INSCALE GmbH, 26.05.2010&#10;http://www.presentationload.com/">
                      <a:extLst>
                        <a:ext uri="{FF2B5EF4-FFF2-40B4-BE49-F238E27FC236}">
                          <a16:creationId xmlns:a16="http://schemas.microsoft.com/office/drawing/2014/main" id="{CB9F6287-B3DB-465F-B409-DC1439B71B1E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4574" y="2546"/>
                      <a:ext cx="559" cy="52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0" y="89"/>
                        </a:cxn>
                        <a:cxn ang="0">
                          <a:pos x="369" y="571"/>
                        </a:cxn>
                        <a:cxn ang="0">
                          <a:pos x="612" y="571"/>
                        </a:cxn>
                        <a:cxn ang="0">
                          <a:pos x="395" y="0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612" h="571">
                          <a:moveTo>
                            <a:pt x="0" y="0"/>
                          </a:moveTo>
                          <a:lnTo>
                            <a:pt x="0" y="89"/>
                          </a:lnTo>
                          <a:lnTo>
                            <a:pt x="369" y="571"/>
                          </a:lnTo>
                          <a:lnTo>
                            <a:pt x="612" y="571"/>
                          </a:lnTo>
                          <a:lnTo>
                            <a:pt x="395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chemeClr val="accent1"/>
                        </a:gs>
                        <a:gs pos="100000">
                          <a:schemeClr val="accent1">
                            <a:lumMod val="60000"/>
                            <a:lumOff val="40000"/>
                          </a:schemeClr>
                        </a:gs>
                      </a:gsLst>
                      <a:lin ang="16200000" scaled="1"/>
                      <a:tileRect/>
                    </a:gradFill>
                    <a:ln w="9525"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accent1">
                              <a:lumMod val="60000"/>
                              <a:lumOff val="40000"/>
                            </a:schemeClr>
                          </a:gs>
                        </a:gsLst>
                        <a:lin ang="16200000" scaled="1"/>
                        <a:tileRect/>
                      </a:gra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>
                        <a:solidFill>
                          <a:srgbClr val="1A1812"/>
                        </a:solidFill>
                      </a:endParaRPr>
                    </a:p>
                  </p:txBody>
                </p:sp>
              </p:grpSp>
              <p:sp>
                <p:nvSpPr>
                  <p:cNvPr id="98" name="Freeform 1641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9C2733D9-8962-4912-9FA9-DCF298B471F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4545" y="2518"/>
                    <a:ext cx="786" cy="28"/>
                  </a:xfrm>
                  <a:custGeom>
                    <a:avLst/>
                    <a:gdLst/>
                    <a:ahLst/>
                    <a:cxnLst>
                      <a:cxn ang="0">
                        <a:pos x="13" y="13"/>
                      </a:cxn>
                      <a:cxn ang="0">
                        <a:pos x="351" y="13"/>
                      </a:cxn>
                      <a:cxn ang="0">
                        <a:pos x="351" y="13"/>
                      </a:cxn>
                      <a:cxn ang="0">
                        <a:pos x="364" y="13"/>
                      </a:cxn>
                      <a:cxn ang="0">
                        <a:pos x="364" y="6"/>
                      </a:cxn>
                      <a:cxn ang="0">
                        <a:pos x="359" y="0"/>
                      </a:cxn>
                      <a:cxn ang="0">
                        <a:pos x="6" y="0"/>
                      </a:cxn>
                      <a:cxn ang="0">
                        <a:pos x="0" y="6"/>
                      </a:cxn>
                      <a:cxn ang="0">
                        <a:pos x="0" y="13"/>
                      </a:cxn>
                      <a:cxn ang="0">
                        <a:pos x="13" y="13"/>
                      </a:cxn>
                    </a:cxnLst>
                    <a:rect l="0" t="0" r="r" b="b"/>
                    <a:pathLst>
                      <a:path w="364" h="13">
                        <a:moveTo>
                          <a:pt x="13" y="13"/>
                        </a:moveTo>
                        <a:cubicBezTo>
                          <a:pt x="351" y="13"/>
                          <a:pt x="351" y="13"/>
                          <a:pt x="351" y="13"/>
                        </a:cubicBezTo>
                        <a:cubicBezTo>
                          <a:pt x="351" y="13"/>
                          <a:pt x="351" y="13"/>
                          <a:pt x="351" y="13"/>
                        </a:cubicBezTo>
                        <a:cubicBezTo>
                          <a:pt x="364" y="13"/>
                          <a:pt x="364" y="13"/>
                          <a:pt x="364" y="13"/>
                        </a:cubicBezTo>
                        <a:cubicBezTo>
                          <a:pt x="364" y="6"/>
                          <a:pt x="364" y="6"/>
                          <a:pt x="364" y="6"/>
                        </a:cubicBezTo>
                        <a:cubicBezTo>
                          <a:pt x="364" y="3"/>
                          <a:pt x="362" y="0"/>
                          <a:pt x="359" y="0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3" y="0"/>
                          <a:pt x="0" y="3"/>
                          <a:pt x="0" y="6"/>
                        </a:cubicBez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13" y="13"/>
                          <a:pt x="13" y="13"/>
                          <a:pt x="13" y="13"/>
                        </a:cubicBez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EAEAEA"/>
                      </a:gs>
                      <a:gs pos="100000">
                        <a:srgbClr val="949494"/>
                      </a:gs>
                    </a:gsLst>
                    <a:lin ang="540000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A1812"/>
                      </a:solidFill>
                    </a:endParaRPr>
                  </a:p>
                </p:txBody>
              </p:sp>
              <p:sp>
                <p:nvSpPr>
                  <p:cNvPr id="99" name="Rectangle 1642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CD699384-9423-4C1D-912D-DED52F494A8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4943" y="2526"/>
                    <a:ext cx="58" cy="11"/>
                  </a:xfrm>
                  <a:prstGeom prst="rect">
                    <a:avLst/>
                  </a:prstGeom>
                  <a:solidFill>
                    <a:srgbClr val="DBDBDB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A1812"/>
                      </a:solidFill>
                    </a:endParaRPr>
                  </a:p>
                </p:txBody>
              </p:sp>
              <p:sp>
                <p:nvSpPr>
                  <p:cNvPr id="100" name="Rectangle 1643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7B3A011C-65F8-43D0-9F5F-C53312D3EC8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4877" y="2526"/>
                    <a:ext cx="58" cy="11"/>
                  </a:xfrm>
                  <a:prstGeom prst="rect">
                    <a:avLst/>
                  </a:prstGeom>
                  <a:solidFill>
                    <a:srgbClr val="DBDBDB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A1812"/>
                      </a:solidFill>
                    </a:endParaRPr>
                  </a:p>
                </p:txBody>
              </p:sp>
              <p:sp>
                <p:nvSpPr>
                  <p:cNvPr id="101" name="Rectangle 1644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6481D7C2-D769-4614-8B53-582ABF1242F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5213" y="3096"/>
                    <a:ext cx="91" cy="32"/>
                  </a:xfrm>
                  <a:prstGeom prst="rect">
                    <a:avLst/>
                  </a:prstGeom>
                  <a:solidFill>
                    <a:srgbClr val="545454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A1812"/>
                      </a:solidFill>
                    </a:endParaRPr>
                  </a:p>
                </p:txBody>
              </p:sp>
              <p:sp>
                <p:nvSpPr>
                  <p:cNvPr id="102" name="Rectangle 1645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853A8D94-62D3-49EF-8B39-18D490D79A9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4574" y="3096"/>
                    <a:ext cx="90" cy="32"/>
                  </a:xfrm>
                  <a:prstGeom prst="rect">
                    <a:avLst/>
                  </a:prstGeom>
                  <a:solidFill>
                    <a:srgbClr val="545454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A1812"/>
                      </a:solidFill>
                    </a:endParaRPr>
                  </a:p>
                </p:txBody>
              </p:sp>
              <p:sp>
                <p:nvSpPr>
                  <p:cNvPr id="103" name="Rectangle 1646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BFA80E6B-20CE-4C1D-AFAE-40CF6CB6AD94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4352" y="3334"/>
                    <a:ext cx="1171" cy="21"/>
                  </a:xfrm>
                  <a:prstGeom prst="rect">
                    <a:avLst/>
                  </a:prstGeom>
                  <a:gradFill rotWithShape="1">
                    <a:gsLst>
                      <a:gs pos="0">
                        <a:srgbClr val="000000"/>
                      </a:gs>
                      <a:gs pos="50000">
                        <a:srgbClr val="949494"/>
                      </a:gs>
                      <a:gs pos="100000">
                        <a:srgbClr val="000000"/>
                      </a:gs>
                    </a:gsLst>
                    <a:lin ang="0" scaled="1"/>
                  </a:gra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A1812"/>
                      </a:solidFill>
                    </a:endParaRPr>
                  </a:p>
                </p:txBody>
              </p:sp>
              <p:sp>
                <p:nvSpPr>
                  <p:cNvPr id="104" name="Freeform 1647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2C7C5C3D-E7B7-40F0-B452-5E7B9E06764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4352" y="3355"/>
                    <a:ext cx="1171" cy="38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7"/>
                      </a:cxn>
                      <a:cxn ang="0">
                        <a:pos x="13" y="17"/>
                      </a:cxn>
                      <a:cxn ang="0">
                        <a:pos x="531" y="17"/>
                      </a:cxn>
                      <a:cxn ang="0">
                        <a:pos x="543" y="7"/>
                      </a:cxn>
                      <a:cxn ang="0">
                        <a:pos x="543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543" h="17">
                        <a:moveTo>
                          <a:pt x="0" y="0"/>
                        </a:move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0" y="13"/>
                          <a:pt x="6" y="17"/>
                          <a:pt x="13" y="17"/>
                        </a:cubicBezTo>
                        <a:cubicBezTo>
                          <a:pt x="531" y="17"/>
                          <a:pt x="531" y="17"/>
                          <a:pt x="531" y="17"/>
                        </a:cubicBezTo>
                        <a:cubicBezTo>
                          <a:pt x="537" y="17"/>
                          <a:pt x="543" y="13"/>
                          <a:pt x="543" y="7"/>
                        </a:cubicBezTo>
                        <a:cubicBezTo>
                          <a:pt x="543" y="0"/>
                          <a:pt x="543" y="0"/>
                          <a:pt x="543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949494"/>
                      </a:gs>
                      <a:gs pos="50000">
                        <a:srgbClr val="EAEAEA"/>
                      </a:gs>
                      <a:gs pos="100000">
                        <a:srgbClr val="949494"/>
                      </a:gs>
                    </a:gsLst>
                    <a:lin ang="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A1812"/>
                      </a:solidFill>
                    </a:endParaRPr>
                  </a:p>
                </p:txBody>
              </p:sp>
              <p:sp>
                <p:nvSpPr>
                  <p:cNvPr id="105" name="Freeform 1648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B9B28AE4-9F7C-4336-8765-68C21350F9E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4458" y="3139"/>
                    <a:ext cx="960" cy="107"/>
                  </a:xfrm>
                  <a:custGeom>
                    <a:avLst/>
                    <a:gdLst/>
                    <a:ahLst/>
                    <a:cxnLst>
                      <a:cxn ang="0">
                        <a:pos x="405" y="7"/>
                      </a:cxn>
                      <a:cxn ang="0">
                        <a:pos x="389" y="0"/>
                      </a:cxn>
                      <a:cxn ang="0">
                        <a:pos x="57" y="0"/>
                      </a:cxn>
                      <a:cxn ang="0">
                        <a:pos x="41" y="7"/>
                      </a:cxn>
                      <a:cxn ang="0">
                        <a:pos x="0" y="49"/>
                      </a:cxn>
                      <a:cxn ang="0">
                        <a:pos x="445" y="49"/>
                      </a:cxn>
                      <a:cxn ang="0">
                        <a:pos x="405" y="7"/>
                      </a:cxn>
                    </a:cxnLst>
                    <a:rect l="0" t="0" r="r" b="b"/>
                    <a:pathLst>
                      <a:path w="445" h="49">
                        <a:moveTo>
                          <a:pt x="405" y="7"/>
                        </a:moveTo>
                        <a:cubicBezTo>
                          <a:pt x="401" y="3"/>
                          <a:pt x="394" y="0"/>
                          <a:pt x="389" y="0"/>
                        </a:cubicBezTo>
                        <a:cubicBezTo>
                          <a:pt x="57" y="0"/>
                          <a:pt x="57" y="0"/>
                          <a:pt x="57" y="0"/>
                        </a:cubicBezTo>
                        <a:cubicBezTo>
                          <a:pt x="52" y="0"/>
                          <a:pt x="45" y="3"/>
                          <a:pt x="41" y="7"/>
                        </a:cubicBezTo>
                        <a:cubicBezTo>
                          <a:pt x="0" y="49"/>
                          <a:pt x="0" y="49"/>
                          <a:pt x="0" y="49"/>
                        </a:cubicBezTo>
                        <a:cubicBezTo>
                          <a:pt x="445" y="49"/>
                          <a:pt x="445" y="49"/>
                          <a:pt x="445" y="49"/>
                        </a:cubicBezTo>
                        <a:lnTo>
                          <a:pt x="405" y="7"/>
                        </a:lnTo>
                        <a:close/>
                      </a:path>
                    </a:pathLst>
                  </a:custGeom>
                  <a:solidFill>
                    <a:srgbClr val="B2B2B2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A1812"/>
                      </a:solidFill>
                    </a:endParaRPr>
                  </a:p>
                </p:txBody>
              </p:sp>
              <p:sp>
                <p:nvSpPr>
                  <p:cNvPr id="106" name="Freeform 1649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B21C94BB-2CDB-40DB-A8F2-3BBF3645208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4829" y="3257"/>
                    <a:ext cx="220" cy="61"/>
                  </a:xfrm>
                  <a:custGeom>
                    <a:avLst/>
                    <a:gdLst/>
                    <a:ahLst/>
                    <a:cxnLst>
                      <a:cxn ang="0">
                        <a:pos x="5" y="29"/>
                      </a:cxn>
                      <a:cxn ang="0">
                        <a:pos x="1" y="23"/>
                      </a:cxn>
                      <a:cxn ang="0">
                        <a:pos x="6" y="6"/>
                      </a:cxn>
                      <a:cxn ang="0">
                        <a:pos x="14" y="0"/>
                      </a:cxn>
                      <a:cxn ang="0">
                        <a:pos x="88" y="0"/>
                      </a:cxn>
                      <a:cxn ang="0">
                        <a:pos x="95" y="6"/>
                      </a:cxn>
                      <a:cxn ang="0">
                        <a:pos x="101" y="23"/>
                      </a:cxn>
                      <a:cxn ang="0">
                        <a:pos x="96" y="29"/>
                      </a:cxn>
                      <a:cxn ang="0">
                        <a:pos x="5" y="29"/>
                      </a:cxn>
                    </a:cxnLst>
                    <a:rect l="0" t="0" r="r" b="b"/>
                    <a:pathLst>
                      <a:path w="102" h="29">
                        <a:moveTo>
                          <a:pt x="5" y="29"/>
                        </a:moveTo>
                        <a:cubicBezTo>
                          <a:pt x="2" y="29"/>
                          <a:pt x="0" y="26"/>
                          <a:pt x="1" y="23"/>
                        </a:cubicBezTo>
                        <a:cubicBezTo>
                          <a:pt x="6" y="6"/>
                          <a:pt x="6" y="6"/>
                          <a:pt x="6" y="6"/>
                        </a:cubicBezTo>
                        <a:cubicBezTo>
                          <a:pt x="7" y="3"/>
                          <a:pt x="11" y="0"/>
                          <a:pt x="14" y="0"/>
                        </a:cubicBezTo>
                        <a:cubicBezTo>
                          <a:pt x="88" y="0"/>
                          <a:pt x="88" y="0"/>
                          <a:pt x="88" y="0"/>
                        </a:cubicBezTo>
                        <a:cubicBezTo>
                          <a:pt x="91" y="0"/>
                          <a:pt x="94" y="3"/>
                          <a:pt x="95" y="6"/>
                        </a:cubicBezTo>
                        <a:cubicBezTo>
                          <a:pt x="101" y="23"/>
                          <a:pt x="101" y="23"/>
                          <a:pt x="101" y="23"/>
                        </a:cubicBezTo>
                        <a:cubicBezTo>
                          <a:pt x="102" y="26"/>
                          <a:pt x="100" y="29"/>
                          <a:pt x="96" y="29"/>
                        </a:cubicBezTo>
                        <a:lnTo>
                          <a:pt x="5" y="29"/>
                        </a:lnTo>
                        <a:close/>
                      </a:path>
                    </a:pathLst>
                  </a:custGeom>
                  <a:solidFill>
                    <a:srgbClr val="30303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A1812"/>
                      </a:solidFill>
                    </a:endParaRPr>
                  </a:p>
                </p:txBody>
              </p:sp>
              <p:sp>
                <p:nvSpPr>
                  <p:cNvPr id="107" name="Freeform 1650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A178838F-98C5-4253-B245-573401EF1A9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4829" y="3257"/>
                    <a:ext cx="220" cy="61"/>
                  </a:xfrm>
                  <a:custGeom>
                    <a:avLst/>
                    <a:gdLst/>
                    <a:ahLst/>
                    <a:cxnLst>
                      <a:cxn ang="0">
                        <a:pos x="5" y="29"/>
                      </a:cxn>
                      <a:cxn ang="0">
                        <a:pos x="1" y="23"/>
                      </a:cxn>
                      <a:cxn ang="0">
                        <a:pos x="6" y="6"/>
                      </a:cxn>
                      <a:cxn ang="0">
                        <a:pos x="14" y="0"/>
                      </a:cxn>
                      <a:cxn ang="0">
                        <a:pos x="88" y="0"/>
                      </a:cxn>
                      <a:cxn ang="0">
                        <a:pos x="95" y="6"/>
                      </a:cxn>
                      <a:cxn ang="0">
                        <a:pos x="101" y="23"/>
                      </a:cxn>
                      <a:cxn ang="0">
                        <a:pos x="96" y="29"/>
                      </a:cxn>
                      <a:cxn ang="0">
                        <a:pos x="5" y="29"/>
                      </a:cxn>
                    </a:cxnLst>
                    <a:rect l="0" t="0" r="r" b="b"/>
                    <a:pathLst>
                      <a:path w="102" h="29">
                        <a:moveTo>
                          <a:pt x="5" y="29"/>
                        </a:moveTo>
                        <a:cubicBezTo>
                          <a:pt x="2" y="29"/>
                          <a:pt x="0" y="26"/>
                          <a:pt x="1" y="23"/>
                        </a:cubicBezTo>
                        <a:cubicBezTo>
                          <a:pt x="6" y="6"/>
                          <a:pt x="6" y="6"/>
                          <a:pt x="6" y="6"/>
                        </a:cubicBezTo>
                        <a:cubicBezTo>
                          <a:pt x="7" y="3"/>
                          <a:pt x="11" y="0"/>
                          <a:pt x="14" y="0"/>
                        </a:cubicBezTo>
                        <a:cubicBezTo>
                          <a:pt x="88" y="0"/>
                          <a:pt x="88" y="0"/>
                          <a:pt x="88" y="0"/>
                        </a:cubicBezTo>
                        <a:cubicBezTo>
                          <a:pt x="91" y="0"/>
                          <a:pt x="94" y="3"/>
                          <a:pt x="95" y="6"/>
                        </a:cubicBezTo>
                        <a:cubicBezTo>
                          <a:pt x="101" y="23"/>
                          <a:pt x="101" y="23"/>
                          <a:pt x="101" y="23"/>
                        </a:cubicBezTo>
                        <a:cubicBezTo>
                          <a:pt x="102" y="26"/>
                          <a:pt x="100" y="29"/>
                          <a:pt x="96" y="29"/>
                        </a:cubicBezTo>
                        <a:lnTo>
                          <a:pt x="5" y="29"/>
                        </a:lnTo>
                        <a:close/>
                      </a:path>
                    </a:pathLst>
                  </a:custGeom>
                  <a:solidFill>
                    <a:srgbClr val="73737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A1812"/>
                      </a:solidFill>
                    </a:endParaRPr>
                  </a:p>
                </p:txBody>
              </p:sp>
              <p:sp>
                <p:nvSpPr>
                  <p:cNvPr id="108" name="Rectangle 1651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C3B44AFF-C8B4-4536-8BFC-F7F183E51A1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4574" y="2546"/>
                    <a:ext cx="729" cy="522"/>
                  </a:xfrm>
                  <a:prstGeom prst="rect">
                    <a:avLst/>
                  </a:prstGeom>
                  <a:noFill/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US">
                      <a:solidFill>
                        <a:srgbClr val="1A1812"/>
                      </a:solidFill>
                    </a:endParaRPr>
                  </a:p>
                </p:txBody>
              </p:sp>
            </p:grpSp>
            <p:sp>
              <p:nvSpPr>
                <p:cNvPr id="94" name="Freeform 1652" descr="© INSCALE GmbH, 26.05.2010&#10;http://www.presentationload.com/">
                  <a:extLst>
                    <a:ext uri="{FF2B5EF4-FFF2-40B4-BE49-F238E27FC236}">
                      <a16:creationId xmlns:a16="http://schemas.microsoft.com/office/drawing/2014/main" id="{FF31426C-BC83-40CC-8F85-89E5D367D581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1749" y="3148"/>
                  <a:ext cx="885" cy="87"/>
                </a:xfrm>
                <a:custGeom>
                  <a:avLst/>
                  <a:gdLst/>
                  <a:ahLst/>
                  <a:cxnLst>
                    <a:cxn ang="0">
                      <a:pos x="204" y="1"/>
                    </a:cxn>
                    <a:cxn ang="0">
                      <a:pos x="275" y="9"/>
                    </a:cxn>
                    <a:cxn ang="0">
                      <a:pos x="492" y="1"/>
                    </a:cxn>
                    <a:cxn ang="0">
                      <a:pos x="497" y="9"/>
                    </a:cxn>
                    <a:cxn ang="0">
                      <a:pos x="631" y="1"/>
                    </a:cxn>
                    <a:cxn ang="0">
                      <a:pos x="769" y="1"/>
                    </a:cxn>
                    <a:cxn ang="0">
                      <a:pos x="781" y="9"/>
                    </a:cxn>
                    <a:cxn ang="0">
                      <a:pos x="993" y="9"/>
                    </a:cxn>
                    <a:cxn ang="0">
                      <a:pos x="997" y="1"/>
                    </a:cxn>
                    <a:cxn ang="0">
                      <a:pos x="1162" y="9"/>
                    </a:cxn>
                    <a:cxn ang="0">
                      <a:pos x="166" y="31"/>
                    </a:cxn>
                    <a:cxn ang="0">
                      <a:pos x="327" y="11"/>
                    </a:cxn>
                    <a:cxn ang="0">
                      <a:pos x="400" y="31"/>
                    </a:cxn>
                    <a:cxn ang="0">
                      <a:pos x="544" y="11"/>
                    </a:cxn>
                    <a:cxn ang="0">
                      <a:pos x="549" y="31"/>
                    </a:cxn>
                    <a:cxn ang="0">
                      <a:pos x="696" y="31"/>
                    </a:cxn>
                    <a:cxn ang="0">
                      <a:pos x="833" y="31"/>
                    </a:cxn>
                    <a:cxn ang="0">
                      <a:pos x="905" y="12"/>
                    </a:cxn>
                    <a:cxn ang="0">
                      <a:pos x="1064" y="31"/>
                    </a:cxn>
                    <a:cxn ang="0">
                      <a:pos x="1074" y="31"/>
                    </a:cxn>
                    <a:cxn ang="0">
                      <a:pos x="272" y="33"/>
                    </a:cxn>
                    <a:cxn ang="0">
                      <a:pos x="282" y="33"/>
                    </a:cxn>
                    <a:cxn ang="0">
                      <a:pos x="427" y="53"/>
                    </a:cxn>
                    <a:cxn ang="0">
                      <a:pos x="575" y="33"/>
                    </a:cxn>
                    <a:cxn ang="0">
                      <a:pos x="581" y="53"/>
                    </a:cxn>
                    <a:cxn ang="0">
                      <a:pos x="804" y="53"/>
                    </a:cxn>
                    <a:cxn ang="0">
                      <a:pos x="881" y="53"/>
                    </a:cxn>
                    <a:cxn ang="0">
                      <a:pos x="1040" y="53"/>
                    </a:cxn>
                    <a:cxn ang="0">
                      <a:pos x="1050" y="53"/>
                    </a:cxn>
                    <a:cxn ang="0">
                      <a:pos x="1132" y="53"/>
                    </a:cxn>
                    <a:cxn ang="0">
                      <a:pos x="275" y="55"/>
                    </a:cxn>
                    <a:cxn ang="0">
                      <a:pos x="343" y="76"/>
                    </a:cxn>
                    <a:cxn ang="0">
                      <a:pos x="513" y="55"/>
                    </a:cxn>
                    <a:cxn ang="0">
                      <a:pos x="518" y="76"/>
                    </a:cxn>
                    <a:cxn ang="0">
                      <a:pos x="668" y="55"/>
                    </a:cxn>
                    <a:cxn ang="0">
                      <a:pos x="756" y="55"/>
                    </a:cxn>
                    <a:cxn ang="0">
                      <a:pos x="841" y="76"/>
                    </a:cxn>
                    <a:cxn ang="0">
                      <a:pos x="1078" y="75"/>
                    </a:cxn>
                    <a:cxn ang="0">
                      <a:pos x="1207" y="55"/>
                    </a:cxn>
                    <a:cxn ang="0">
                      <a:pos x="221" y="78"/>
                    </a:cxn>
                    <a:cxn ang="0">
                      <a:pos x="300" y="99"/>
                    </a:cxn>
                    <a:cxn ang="0">
                      <a:pos x="461" y="99"/>
                    </a:cxn>
                    <a:cxn ang="0">
                      <a:pos x="560" y="78"/>
                    </a:cxn>
                    <a:cxn ang="0">
                      <a:pos x="641" y="78"/>
                    </a:cxn>
                    <a:cxn ang="0">
                      <a:pos x="801" y="99"/>
                    </a:cxn>
                    <a:cxn ang="0">
                      <a:pos x="957" y="78"/>
                    </a:cxn>
                    <a:cxn ang="0">
                      <a:pos x="981" y="98"/>
                    </a:cxn>
                    <a:cxn ang="0">
                      <a:pos x="20" y="103"/>
                    </a:cxn>
                    <a:cxn ang="0">
                      <a:pos x="162" y="125"/>
                    </a:cxn>
                    <a:cxn ang="0">
                      <a:pos x="173" y="125"/>
                    </a:cxn>
                    <a:cxn ang="0">
                      <a:pos x="375" y="124"/>
                    </a:cxn>
                    <a:cxn ang="0">
                      <a:pos x="908" y="101"/>
                    </a:cxn>
                    <a:cxn ang="0">
                      <a:pos x="1010" y="113"/>
                    </a:cxn>
                    <a:cxn ang="0">
                      <a:pos x="1095" y="110"/>
                    </a:cxn>
                    <a:cxn ang="0">
                      <a:pos x="1097" y="113"/>
                    </a:cxn>
                  </a:cxnLst>
                  <a:rect l="0" t="0" r="r" b="b"/>
                  <a:pathLst>
                    <a:path w="1272" h="125">
                      <a:moveTo>
                        <a:pt x="195" y="1"/>
                      </a:moveTo>
                      <a:cubicBezTo>
                        <a:pt x="168" y="1"/>
                        <a:pt x="142" y="1"/>
                        <a:pt x="115" y="1"/>
                      </a:cubicBezTo>
                      <a:cubicBezTo>
                        <a:pt x="112" y="4"/>
                        <a:pt x="110" y="6"/>
                        <a:pt x="107" y="9"/>
                      </a:cubicBezTo>
                      <a:cubicBezTo>
                        <a:pt x="134" y="9"/>
                        <a:pt x="161" y="9"/>
                        <a:pt x="188" y="9"/>
                      </a:cubicBezTo>
                      <a:cubicBezTo>
                        <a:pt x="191" y="6"/>
                        <a:pt x="192" y="4"/>
                        <a:pt x="195" y="1"/>
                      </a:cubicBezTo>
                      <a:close/>
                      <a:moveTo>
                        <a:pt x="272" y="1"/>
                      </a:moveTo>
                      <a:cubicBezTo>
                        <a:pt x="249" y="1"/>
                        <a:pt x="226" y="1"/>
                        <a:pt x="204" y="1"/>
                      </a:cubicBezTo>
                      <a:cubicBezTo>
                        <a:pt x="201" y="4"/>
                        <a:pt x="199" y="6"/>
                        <a:pt x="197" y="9"/>
                      </a:cubicBezTo>
                      <a:cubicBezTo>
                        <a:pt x="221" y="9"/>
                        <a:pt x="242" y="9"/>
                        <a:pt x="266" y="9"/>
                      </a:cubicBezTo>
                      <a:cubicBezTo>
                        <a:pt x="268" y="6"/>
                        <a:pt x="269" y="4"/>
                        <a:pt x="272" y="1"/>
                      </a:cubicBezTo>
                      <a:close/>
                      <a:moveTo>
                        <a:pt x="342" y="9"/>
                      </a:moveTo>
                      <a:cubicBezTo>
                        <a:pt x="344" y="6"/>
                        <a:pt x="345" y="4"/>
                        <a:pt x="347" y="1"/>
                      </a:cubicBezTo>
                      <a:cubicBezTo>
                        <a:pt x="325" y="1"/>
                        <a:pt x="303" y="1"/>
                        <a:pt x="281" y="1"/>
                      </a:cubicBezTo>
                      <a:cubicBezTo>
                        <a:pt x="279" y="4"/>
                        <a:pt x="278" y="6"/>
                        <a:pt x="275" y="9"/>
                      </a:cubicBezTo>
                      <a:cubicBezTo>
                        <a:pt x="298" y="9"/>
                        <a:pt x="319" y="9"/>
                        <a:pt x="342" y="9"/>
                      </a:cubicBezTo>
                      <a:close/>
                      <a:moveTo>
                        <a:pt x="420" y="1"/>
                      </a:moveTo>
                      <a:cubicBezTo>
                        <a:pt x="399" y="1"/>
                        <a:pt x="378" y="1"/>
                        <a:pt x="357" y="1"/>
                      </a:cubicBezTo>
                      <a:cubicBezTo>
                        <a:pt x="355" y="4"/>
                        <a:pt x="354" y="6"/>
                        <a:pt x="352" y="9"/>
                      </a:cubicBezTo>
                      <a:cubicBezTo>
                        <a:pt x="374" y="9"/>
                        <a:pt x="394" y="9"/>
                        <a:pt x="417" y="9"/>
                      </a:cubicBezTo>
                      <a:cubicBezTo>
                        <a:pt x="418" y="6"/>
                        <a:pt x="419" y="4"/>
                        <a:pt x="420" y="1"/>
                      </a:cubicBezTo>
                      <a:close/>
                      <a:moveTo>
                        <a:pt x="492" y="1"/>
                      </a:moveTo>
                      <a:cubicBezTo>
                        <a:pt x="471" y="1"/>
                        <a:pt x="450" y="1"/>
                        <a:pt x="430" y="1"/>
                      </a:cubicBezTo>
                      <a:cubicBezTo>
                        <a:pt x="428" y="4"/>
                        <a:pt x="427" y="6"/>
                        <a:pt x="426" y="9"/>
                      </a:cubicBezTo>
                      <a:cubicBezTo>
                        <a:pt x="448" y="9"/>
                        <a:pt x="467" y="9"/>
                        <a:pt x="489" y="9"/>
                      </a:cubicBezTo>
                      <a:cubicBezTo>
                        <a:pt x="490" y="6"/>
                        <a:pt x="491" y="4"/>
                        <a:pt x="492" y="1"/>
                      </a:cubicBezTo>
                      <a:close/>
                      <a:moveTo>
                        <a:pt x="561" y="1"/>
                      </a:moveTo>
                      <a:cubicBezTo>
                        <a:pt x="540" y="1"/>
                        <a:pt x="520" y="1"/>
                        <a:pt x="500" y="1"/>
                      </a:cubicBezTo>
                      <a:cubicBezTo>
                        <a:pt x="499" y="4"/>
                        <a:pt x="498" y="6"/>
                        <a:pt x="497" y="9"/>
                      </a:cubicBezTo>
                      <a:cubicBezTo>
                        <a:pt x="519" y="9"/>
                        <a:pt x="538" y="9"/>
                        <a:pt x="559" y="9"/>
                      </a:cubicBezTo>
                      <a:cubicBezTo>
                        <a:pt x="560" y="6"/>
                        <a:pt x="560" y="4"/>
                        <a:pt x="561" y="1"/>
                      </a:cubicBezTo>
                      <a:close/>
                      <a:moveTo>
                        <a:pt x="631" y="1"/>
                      </a:moveTo>
                      <a:cubicBezTo>
                        <a:pt x="611" y="1"/>
                        <a:pt x="590" y="1"/>
                        <a:pt x="570" y="1"/>
                      </a:cubicBezTo>
                      <a:cubicBezTo>
                        <a:pt x="570" y="4"/>
                        <a:pt x="570" y="6"/>
                        <a:pt x="569" y="9"/>
                      </a:cubicBezTo>
                      <a:cubicBezTo>
                        <a:pt x="591" y="9"/>
                        <a:pt x="610" y="9"/>
                        <a:pt x="631" y="9"/>
                      </a:cubicBezTo>
                      <a:cubicBezTo>
                        <a:pt x="631" y="6"/>
                        <a:pt x="631" y="4"/>
                        <a:pt x="631" y="1"/>
                      </a:cubicBezTo>
                      <a:close/>
                      <a:moveTo>
                        <a:pt x="701" y="9"/>
                      </a:moveTo>
                      <a:cubicBezTo>
                        <a:pt x="701" y="6"/>
                        <a:pt x="700" y="4"/>
                        <a:pt x="699" y="1"/>
                      </a:cubicBezTo>
                      <a:cubicBezTo>
                        <a:pt x="678" y="1"/>
                        <a:pt x="660" y="1"/>
                        <a:pt x="639" y="1"/>
                      </a:cubicBezTo>
                      <a:cubicBezTo>
                        <a:pt x="639" y="4"/>
                        <a:pt x="639" y="6"/>
                        <a:pt x="639" y="9"/>
                      </a:cubicBezTo>
                      <a:cubicBezTo>
                        <a:pt x="661" y="9"/>
                        <a:pt x="680" y="9"/>
                        <a:pt x="701" y="9"/>
                      </a:cubicBezTo>
                      <a:close/>
                      <a:moveTo>
                        <a:pt x="772" y="9"/>
                      </a:moveTo>
                      <a:cubicBezTo>
                        <a:pt x="771" y="6"/>
                        <a:pt x="770" y="4"/>
                        <a:pt x="769" y="1"/>
                      </a:cubicBezTo>
                      <a:cubicBezTo>
                        <a:pt x="748" y="1"/>
                        <a:pt x="729" y="1"/>
                        <a:pt x="708" y="1"/>
                      </a:cubicBezTo>
                      <a:cubicBezTo>
                        <a:pt x="708" y="4"/>
                        <a:pt x="709" y="6"/>
                        <a:pt x="710" y="9"/>
                      </a:cubicBezTo>
                      <a:cubicBezTo>
                        <a:pt x="731" y="9"/>
                        <a:pt x="750" y="9"/>
                        <a:pt x="772" y="9"/>
                      </a:cubicBezTo>
                      <a:close/>
                      <a:moveTo>
                        <a:pt x="844" y="9"/>
                      </a:moveTo>
                      <a:cubicBezTo>
                        <a:pt x="843" y="6"/>
                        <a:pt x="842" y="4"/>
                        <a:pt x="840" y="1"/>
                      </a:cubicBezTo>
                      <a:cubicBezTo>
                        <a:pt x="818" y="1"/>
                        <a:pt x="799" y="1"/>
                        <a:pt x="778" y="1"/>
                      </a:cubicBezTo>
                      <a:cubicBezTo>
                        <a:pt x="779" y="4"/>
                        <a:pt x="780" y="6"/>
                        <a:pt x="781" y="9"/>
                      </a:cubicBezTo>
                      <a:cubicBezTo>
                        <a:pt x="803" y="9"/>
                        <a:pt x="822" y="9"/>
                        <a:pt x="844" y="9"/>
                      </a:cubicBezTo>
                      <a:close/>
                      <a:moveTo>
                        <a:pt x="917" y="9"/>
                      </a:moveTo>
                      <a:cubicBezTo>
                        <a:pt x="915" y="6"/>
                        <a:pt x="914" y="4"/>
                        <a:pt x="911" y="1"/>
                      </a:cubicBezTo>
                      <a:cubicBezTo>
                        <a:pt x="889" y="1"/>
                        <a:pt x="870" y="1"/>
                        <a:pt x="848" y="1"/>
                      </a:cubicBezTo>
                      <a:cubicBezTo>
                        <a:pt x="850" y="4"/>
                        <a:pt x="851" y="6"/>
                        <a:pt x="852" y="9"/>
                      </a:cubicBezTo>
                      <a:cubicBezTo>
                        <a:pt x="875" y="9"/>
                        <a:pt x="895" y="9"/>
                        <a:pt x="917" y="9"/>
                      </a:cubicBezTo>
                      <a:close/>
                      <a:moveTo>
                        <a:pt x="993" y="9"/>
                      </a:moveTo>
                      <a:cubicBezTo>
                        <a:pt x="991" y="6"/>
                        <a:pt x="989" y="4"/>
                        <a:pt x="987" y="1"/>
                      </a:cubicBezTo>
                      <a:cubicBezTo>
                        <a:pt x="964" y="1"/>
                        <a:pt x="944" y="1"/>
                        <a:pt x="921" y="1"/>
                      </a:cubicBezTo>
                      <a:cubicBezTo>
                        <a:pt x="923" y="4"/>
                        <a:pt x="924" y="6"/>
                        <a:pt x="927" y="9"/>
                      </a:cubicBezTo>
                      <a:cubicBezTo>
                        <a:pt x="950" y="9"/>
                        <a:pt x="970" y="9"/>
                        <a:pt x="993" y="9"/>
                      </a:cubicBezTo>
                      <a:close/>
                      <a:moveTo>
                        <a:pt x="1073" y="9"/>
                      </a:moveTo>
                      <a:cubicBezTo>
                        <a:pt x="1070" y="6"/>
                        <a:pt x="1068" y="4"/>
                        <a:pt x="1065" y="0"/>
                      </a:cubicBezTo>
                      <a:cubicBezTo>
                        <a:pt x="1041" y="0"/>
                        <a:pt x="1020" y="0"/>
                        <a:pt x="997" y="1"/>
                      </a:cubicBezTo>
                      <a:cubicBezTo>
                        <a:pt x="1000" y="4"/>
                        <a:pt x="1001" y="6"/>
                        <a:pt x="1004" y="9"/>
                      </a:cubicBezTo>
                      <a:cubicBezTo>
                        <a:pt x="1028" y="9"/>
                        <a:pt x="1049" y="9"/>
                        <a:pt x="1073" y="9"/>
                      </a:cubicBezTo>
                      <a:close/>
                      <a:moveTo>
                        <a:pt x="1162" y="9"/>
                      </a:moveTo>
                      <a:cubicBezTo>
                        <a:pt x="1159" y="6"/>
                        <a:pt x="1157" y="4"/>
                        <a:pt x="1154" y="0"/>
                      </a:cubicBezTo>
                      <a:cubicBezTo>
                        <a:pt x="1127" y="0"/>
                        <a:pt x="1101" y="0"/>
                        <a:pt x="1075" y="0"/>
                      </a:cubicBezTo>
                      <a:cubicBezTo>
                        <a:pt x="1078" y="4"/>
                        <a:pt x="1079" y="6"/>
                        <a:pt x="1083" y="9"/>
                      </a:cubicBezTo>
                      <a:cubicBezTo>
                        <a:pt x="1109" y="9"/>
                        <a:pt x="1136" y="9"/>
                        <a:pt x="1162" y="9"/>
                      </a:cubicBezTo>
                      <a:close/>
                      <a:moveTo>
                        <a:pt x="157" y="31"/>
                      </a:moveTo>
                      <a:cubicBezTo>
                        <a:pt x="164" y="23"/>
                        <a:pt x="167" y="19"/>
                        <a:pt x="174" y="11"/>
                      </a:cubicBezTo>
                      <a:cubicBezTo>
                        <a:pt x="150" y="11"/>
                        <a:pt x="129" y="11"/>
                        <a:pt x="105" y="11"/>
                      </a:cubicBezTo>
                      <a:cubicBezTo>
                        <a:pt x="98" y="19"/>
                        <a:pt x="95" y="23"/>
                        <a:pt x="87" y="31"/>
                      </a:cubicBezTo>
                      <a:cubicBezTo>
                        <a:pt x="111" y="31"/>
                        <a:pt x="133" y="31"/>
                        <a:pt x="157" y="31"/>
                      </a:cubicBezTo>
                      <a:close/>
                      <a:moveTo>
                        <a:pt x="182" y="11"/>
                      </a:moveTo>
                      <a:cubicBezTo>
                        <a:pt x="176" y="19"/>
                        <a:pt x="173" y="23"/>
                        <a:pt x="166" y="31"/>
                      </a:cubicBezTo>
                      <a:cubicBezTo>
                        <a:pt x="190" y="31"/>
                        <a:pt x="212" y="31"/>
                        <a:pt x="236" y="31"/>
                      </a:cubicBezTo>
                      <a:cubicBezTo>
                        <a:pt x="242" y="23"/>
                        <a:pt x="245" y="19"/>
                        <a:pt x="251" y="11"/>
                      </a:cubicBezTo>
                      <a:cubicBezTo>
                        <a:pt x="227" y="11"/>
                        <a:pt x="206" y="11"/>
                        <a:pt x="182" y="11"/>
                      </a:cubicBezTo>
                      <a:close/>
                      <a:moveTo>
                        <a:pt x="260" y="11"/>
                      </a:moveTo>
                      <a:cubicBezTo>
                        <a:pt x="255" y="19"/>
                        <a:pt x="252" y="23"/>
                        <a:pt x="246" y="31"/>
                      </a:cubicBezTo>
                      <a:cubicBezTo>
                        <a:pt x="269" y="31"/>
                        <a:pt x="290" y="31"/>
                        <a:pt x="314" y="31"/>
                      </a:cubicBezTo>
                      <a:cubicBezTo>
                        <a:pt x="319" y="23"/>
                        <a:pt x="322" y="19"/>
                        <a:pt x="327" y="11"/>
                      </a:cubicBezTo>
                      <a:cubicBezTo>
                        <a:pt x="304" y="11"/>
                        <a:pt x="283" y="11"/>
                        <a:pt x="260" y="11"/>
                      </a:cubicBezTo>
                      <a:close/>
                      <a:moveTo>
                        <a:pt x="401" y="11"/>
                      </a:moveTo>
                      <a:cubicBezTo>
                        <a:pt x="379" y="11"/>
                        <a:pt x="359" y="11"/>
                        <a:pt x="337" y="11"/>
                      </a:cubicBezTo>
                      <a:cubicBezTo>
                        <a:pt x="332" y="19"/>
                        <a:pt x="329" y="23"/>
                        <a:pt x="324" y="31"/>
                      </a:cubicBezTo>
                      <a:cubicBezTo>
                        <a:pt x="347" y="31"/>
                        <a:pt x="368" y="31"/>
                        <a:pt x="391" y="31"/>
                      </a:cubicBezTo>
                      <a:cubicBezTo>
                        <a:pt x="395" y="23"/>
                        <a:pt x="397" y="19"/>
                        <a:pt x="401" y="11"/>
                      </a:cubicBezTo>
                      <a:close/>
                      <a:moveTo>
                        <a:pt x="400" y="31"/>
                      </a:moveTo>
                      <a:cubicBezTo>
                        <a:pt x="423" y="31"/>
                        <a:pt x="443" y="31"/>
                        <a:pt x="466" y="31"/>
                      </a:cubicBezTo>
                      <a:cubicBezTo>
                        <a:pt x="469" y="23"/>
                        <a:pt x="470" y="19"/>
                        <a:pt x="473" y="11"/>
                      </a:cubicBezTo>
                      <a:cubicBezTo>
                        <a:pt x="451" y="11"/>
                        <a:pt x="432" y="11"/>
                        <a:pt x="410" y="11"/>
                      </a:cubicBezTo>
                      <a:cubicBezTo>
                        <a:pt x="406" y="19"/>
                        <a:pt x="404" y="23"/>
                        <a:pt x="400" y="31"/>
                      </a:cubicBezTo>
                      <a:close/>
                      <a:moveTo>
                        <a:pt x="475" y="31"/>
                      </a:moveTo>
                      <a:cubicBezTo>
                        <a:pt x="498" y="31"/>
                        <a:pt x="518" y="31"/>
                        <a:pt x="540" y="31"/>
                      </a:cubicBezTo>
                      <a:cubicBezTo>
                        <a:pt x="542" y="23"/>
                        <a:pt x="542" y="19"/>
                        <a:pt x="544" y="11"/>
                      </a:cubicBezTo>
                      <a:cubicBezTo>
                        <a:pt x="522" y="11"/>
                        <a:pt x="503" y="11"/>
                        <a:pt x="482" y="11"/>
                      </a:cubicBezTo>
                      <a:cubicBezTo>
                        <a:pt x="479" y="19"/>
                        <a:pt x="478" y="23"/>
                        <a:pt x="475" y="31"/>
                      </a:cubicBezTo>
                      <a:close/>
                      <a:moveTo>
                        <a:pt x="549" y="31"/>
                      </a:moveTo>
                      <a:cubicBezTo>
                        <a:pt x="571" y="31"/>
                        <a:pt x="591" y="31"/>
                        <a:pt x="613" y="31"/>
                      </a:cubicBezTo>
                      <a:cubicBezTo>
                        <a:pt x="613" y="23"/>
                        <a:pt x="613" y="19"/>
                        <a:pt x="613" y="11"/>
                      </a:cubicBezTo>
                      <a:cubicBezTo>
                        <a:pt x="592" y="11"/>
                        <a:pt x="573" y="11"/>
                        <a:pt x="552" y="11"/>
                      </a:cubicBezTo>
                      <a:cubicBezTo>
                        <a:pt x="551" y="19"/>
                        <a:pt x="550" y="23"/>
                        <a:pt x="549" y="31"/>
                      </a:cubicBezTo>
                      <a:close/>
                      <a:moveTo>
                        <a:pt x="622" y="11"/>
                      </a:moveTo>
                      <a:cubicBezTo>
                        <a:pt x="622" y="19"/>
                        <a:pt x="622" y="23"/>
                        <a:pt x="622" y="31"/>
                      </a:cubicBezTo>
                      <a:cubicBezTo>
                        <a:pt x="644" y="31"/>
                        <a:pt x="664" y="31"/>
                        <a:pt x="686" y="31"/>
                      </a:cubicBezTo>
                      <a:cubicBezTo>
                        <a:pt x="685" y="23"/>
                        <a:pt x="685" y="19"/>
                        <a:pt x="683" y="11"/>
                      </a:cubicBezTo>
                      <a:cubicBezTo>
                        <a:pt x="662" y="11"/>
                        <a:pt x="643" y="11"/>
                        <a:pt x="622" y="11"/>
                      </a:cubicBezTo>
                      <a:close/>
                      <a:moveTo>
                        <a:pt x="693" y="11"/>
                      </a:moveTo>
                      <a:cubicBezTo>
                        <a:pt x="694" y="19"/>
                        <a:pt x="695" y="23"/>
                        <a:pt x="696" y="31"/>
                      </a:cubicBezTo>
                      <a:cubicBezTo>
                        <a:pt x="718" y="31"/>
                        <a:pt x="738" y="31"/>
                        <a:pt x="761" y="31"/>
                      </a:cubicBezTo>
                      <a:cubicBezTo>
                        <a:pt x="758" y="23"/>
                        <a:pt x="757" y="19"/>
                        <a:pt x="754" y="11"/>
                      </a:cubicBezTo>
                      <a:cubicBezTo>
                        <a:pt x="733" y="11"/>
                        <a:pt x="714" y="11"/>
                        <a:pt x="693" y="11"/>
                      </a:cubicBezTo>
                      <a:close/>
                      <a:moveTo>
                        <a:pt x="824" y="12"/>
                      </a:moveTo>
                      <a:cubicBezTo>
                        <a:pt x="802" y="11"/>
                        <a:pt x="783" y="11"/>
                        <a:pt x="762" y="11"/>
                      </a:cubicBezTo>
                      <a:cubicBezTo>
                        <a:pt x="764" y="19"/>
                        <a:pt x="766" y="23"/>
                        <a:pt x="768" y="31"/>
                      </a:cubicBezTo>
                      <a:cubicBezTo>
                        <a:pt x="791" y="31"/>
                        <a:pt x="811" y="31"/>
                        <a:pt x="833" y="31"/>
                      </a:cubicBezTo>
                      <a:cubicBezTo>
                        <a:pt x="830" y="23"/>
                        <a:pt x="828" y="19"/>
                        <a:pt x="824" y="12"/>
                      </a:cubicBezTo>
                      <a:close/>
                      <a:moveTo>
                        <a:pt x="833" y="12"/>
                      </a:moveTo>
                      <a:cubicBezTo>
                        <a:pt x="837" y="19"/>
                        <a:pt x="839" y="23"/>
                        <a:pt x="843" y="31"/>
                      </a:cubicBezTo>
                      <a:cubicBezTo>
                        <a:pt x="866" y="31"/>
                        <a:pt x="886" y="31"/>
                        <a:pt x="909" y="31"/>
                      </a:cubicBezTo>
                      <a:cubicBezTo>
                        <a:pt x="904" y="23"/>
                        <a:pt x="902" y="19"/>
                        <a:pt x="897" y="12"/>
                      </a:cubicBezTo>
                      <a:cubicBezTo>
                        <a:pt x="875" y="12"/>
                        <a:pt x="855" y="12"/>
                        <a:pt x="833" y="12"/>
                      </a:cubicBezTo>
                      <a:close/>
                      <a:moveTo>
                        <a:pt x="905" y="12"/>
                      </a:moveTo>
                      <a:cubicBezTo>
                        <a:pt x="910" y="19"/>
                        <a:pt x="913" y="23"/>
                        <a:pt x="918" y="31"/>
                      </a:cubicBezTo>
                      <a:cubicBezTo>
                        <a:pt x="941" y="31"/>
                        <a:pt x="962" y="31"/>
                        <a:pt x="985" y="31"/>
                      </a:cubicBezTo>
                      <a:cubicBezTo>
                        <a:pt x="979" y="23"/>
                        <a:pt x="977" y="19"/>
                        <a:pt x="971" y="12"/>
                      </a:cubicBezTo>
                      <a:cubicBezTo>
                        <a:pt x="948" y="12"/>
                        <a:pt x="928" y="12"/>
                        <a:pt x="905" y="12"/>
                      </a:cubicBezTo>
                      <a:close/>
                      <a:moveTo>
                        <a:pt x="980" y="12"/>
                      </a:moveTo>
                      <a:cubicBezTo>
                        <a:pt x="986" y="19"/>
                        <a:pt x="989" y="23"/>
                        <a:pt x="995" y="31"/>
                      </a:cubicBezTo>
                      <a:cubicBezTo>
                        <a:pt x="1019" y="31"/>
                        <a:pt x="1040" y="31"/>
                        <a:pt x="1064" y="31"/>
                      </a:cubicBezTo>
                      <a:cubicBezTo>
                        <a:pt x="1057" y="23"/>
                        <a:pt x="1054" y="19"/>
                        <a:pt x="1047" y="12"/>
                      </a:cubicBezTo>
                      <a:cubicBezTo>
                        <a:pt x="1024" y="12"/>
                        <a:pt x="1003" y="12"/>
                        <a:pt x="980" y="12"/>
                      </a:cubicBezTo>
                      <a:close/>
                      <a:moveTo>
                        <a:pt x="1074" y="31"/>
                      </a:moveTo>
                      <a:cubicBezTo>
                        <a:pt x="1110" y="31"/>
                        <a:pt x="1147" y="31"/>
                        <a:pt x="1184" y="31"/>
                      </a:cubicBezTo>
                      <a:cubicBezTo>
                        <a:pt x="1176" y="23"/>
                        <a:pt x="1172" y="19"/>
                        <a:pt x="1165" y="12"/>
                      </a:cubicBezTo>
                      <a:cubicBezTo>
                        <a:pt x="1129" y="12"/>
                        <a:pt x="1093" y="12"/>
                        <a:pt x="1057" y="12"/>
                      </a:cubicBezTo>
                      <a:cubicBezTo>
                        <a:pt x="1063" y="19"/>
                        <a:pt x="1067" y="23"/>
                        <a:pt x="1074" y="31"/>
                      </a:cubicBezTo>
                      <a:close/>
                      <a:moveTo>
                        <a:pt x="194" y="32"/>
                      </a:moveTo>
                      <a:cubicBezTo>
                        <a:pt x="158" y="32"/>
                        <a:pt x="122" y="32"/>
                        <a:pt x="86" y="32"/>
                      </a:cubicBezTo>
                      <a:cubicBezTo>
                        <a:pt x="78" y="40"/>
                        <a:pt x="74" y="45"/>
                        <a:pt x="67" y="53"/>
                      </a:cubicBezTo>
                      <a:cubicBezTo>
                        <a:pt x="103" y="53"/>
                        <a:pt x="140" y="53"/>
                        <a:pt x="177" y="53"/>
                      </a:cubicBezTo>
                      <a:cubicBezTo>
                        <a:pt x="184" y="45"/>
                        <a:pt x="187" y="40"/>
                        <a:pt x="194" y="32"/>
                      </a:cubicBezTo>
                      <a:close/>
                      <a:moveTo>
                        <a:pt x="257" y="53"/>
                      </a:moveTo>
                      <a:cubicBezTo>
                        <a:pt x="263" y="45"/>
                        <a:pt x="266" y="41"/>
                        <a:pt x="272" y="33"/>
                      </a:cubicBezTo>
                      <a:cubicBezTo>
                        <a:pt x="248" y="33"/>
                        <a:pt x="227" y="33"/>
                        <a:pt x="203" y="33"/>
                      </a:cubicBezTo>
                      <a:cubicBezTo>
                        <a:pt x="196" y="41"/>
                        <a:pt x="193" y="45"/>
                        <a:pt x="186" y="53"/>
                      </a:cubicBezTo>
                      <a:cubicBezTo>
                        <a:pt x="211" y="53"/>
                        <a:pt x="233" y="53"/>
                        <a:pt x="257" y="53"/>
                      </a:cubicBezTo>
                      <a:close/>
                      <a:moveTo>
                        <a:pt x="267" y="53"/>
                      </a:moveTo>
                      <a:cubicBezTo>
                        <a:pt x="292" y="53"/>
                        <a:pt x="313" y="53"/>
                        <a:pt x="337" y="53"/>
                      </a:cubicBezTo>
                      <a:cubicBezTo>
                        <a:pt x="342" y="45"/>
                        <a:pt x="345" y="41"/>
                        <a:pt x="350" y="33"/>
                      </a:cubicBezTo>
                      <a:cubicBezTo>
                        <a:pt x="326" y="33"/>
                        <a:pt x="305" y="33"/>
                        <a:pt x="282" y="33"/>
                      </a:cubicBezTo>
                      <a:cubicBezTo>
                        <a:pt x="276" y="41"/>
                        <a:pt x="273" y="45"/>
                        <a:pt x="267" y="53"/>
                      </a:cubicBezTo>
                      <a:close/>
                      <a:moveTo>
                        <a:pt x="426" y="33"/>
                      </a:moveTo>
                      <a:cubicBezTo>
                        <a:pt x="403" y="33"/>
                        <a:pt x="383" y="33"/>
                        <a:pt x="360" y="33"/>
                      </a:cubicBezTo>
                      <a:cubicBezTo>
                        <a:pt x="355" y="41"/>
                        <a:pt x="353" y="45"/>
                        <a:pt x="348" y="53"/>
                      </a:cubicBezTo>
                      <a:cubicBezTo>
                        <a:pt x="372" y="53"/>
                        <a:pt x="393" y="53"/>
                        <a:pt x="417" y="53"/>
                      </a:cubicBezTo>
                      <a:cubicBezTo>
                        <a:pt x="421" y="45"/>
                        <a:pt x="422" y="41"/>
                        <a:pt x="426" y="33"/>
                      </a:cubicBezTo>
                      <a:close/>
                      <a:moveTo>
                        <a:pt x="427" y="53"/>
                      </a:moveTo>
                      <a:cubicBezTo>
                        <a:pt x="450" y="53"/>
                        <a:pt x="471" y="53"/>
                        <a:pt x="495" y="53"/>
                      </a:cubicBezTo>
                      <a:cubicBezTo>
                        <a:pt x="497" y="45"/>
                        <a:pt x="498" y="41"/>
                        <a:pt x="501" y="33"/>
                      </a:cubicBezTo>
                      <a:cubicBezTo>
                        <a:pt x="478" y="33"/>
                        <a:pt x="458" y="33"/>
                        <a:pt x="435" y="33"/>
                      </a:cubicBezTo>
                      <a:cubicBezTo>
                        <a:pt x="432" y="41"/>
                        <a:pt x="430" y="45"/>
                        <a:pt x="427" y="53"/>
                      </a:cubicBezTo>
                      <a:close/>
                      <a:moveTo>
                        <a:pt x="505" y="53"/>
                      </a:moveTo>
                      <a:cubicBezTo>
                        <a:pt x="528" y="53"/>
                        <a:pt x="549" y="53"/>
                        <a:pt x="572" y="53"/>
                      </a:cubicBezTo>
                      <a:cubicBezTo>
                        <a:pt x="573" y="45"/>
                        <a:pt x="574" y="41"/>
                        <a:pt x="575" y="33"/>
                      </a:cubicBezTo>
                      <a:cubicBezTo>
                        <a:pt x="553" y="33"/>
                        <a:pt x="533" y="33"/>
                        <a:pt x="510" y="33"/>
                      </a:cubicBezTo>
                      <a:cubicBezTo>
                        <a:pt x="508" y="41"/>
                        <a:pt x="507" y="45"/>
                        <a:pt x="505" y="53"/>
                      </a:cubicBezTo>
                      <a:close/>
                      <a:moveTo>
                        <a:pt x="581" y="53"/>
                      </a:moveTo>
                      <a:cubicBezTo>
                        <a:pt x="605" y="53"/>
                        <a:pt x="625" y="53"/>
                        <a:pt x="649" y="53"/>
                      </a:cubicBezTo>
                      <a:cubicBezTo>
                        <a:pt x="649" y="45"/>
                        <a:pt x="648" y="41"/>
                        <a:pt x="648" y="33"/>
                      </a:cubicBezTo>
                      <a:cubicBezTo>
                        <a:pt x="626" y="33"/>
                        <a:pt x="606" y="33"/>
                        <a:pt x="584" y="33"/>
                      </a:cubicBezTo>
                      <a:cubicBezTo>
                        <a:pt x="583" y="41"/>
                        <a:pt x="582" y="45"/>
                        <a:pt x="581" y="53"/>
                      </a:cubicBezTo>
                      <a:close/>
                      <a:moveTo>
                        <a:pt x="658" y="53"/>
                      </a:moveTo>
                      <a:cubicBezTo>
                        <a:pt x="682" y="53"/>
                        <a:pt x="703" y="53"/>
                        <a:pt x="726" y="53"/>
                      </a:cubicBezTo>
                      <a:cubicBezTo>
                        <a:pt x="724" y="45"/>
                        <a:pt x="724" y="41"/>
                        <a:pt x="722" y="33"/>
                      </a:cubicBezTo>
                      <a:cubicBezTo>
                        <a:pt x="699" y="33"/>
                        <a:pt x="680" y="33"/>
                        <a:pt x="657" y="33"/>
                      </a:cubicBezTo>
                      <a:cubicBezTo>
                        <a:pt x="658" y="41"/>
                        <a:pt x="658" y="45"/>
                        <a:pt x="658" y="53"/>
                      </a:cubicBezTo>
                      <a:close/>
                      <a:moveTo>
                        <a:pt x="736" y="53"/>
                      </a:moveTo>
                      <a:cubicBezTo>
                        <a:pt x="760" y="53"/>
                        <a:pt x="781" y="53"/>
                        <a:pt x="804" y="53"/>
                      </a:cubicBezTo>
                      <a:cubicBezTo>
                        <a:pt x="801" y="45"/>
                        <a:pt x="800" y="41"/>
                        <a:pt x="797" y="33"/>
                      </a:cubicBezTo>
                      <a:cubicBezTo>
                        <a:pt x="774" y="33"/>
                        <a:pt x="754" y="33"/>
                        <a:pt x="732" y="33"/>
                      </a:cubicBezTo>
                      <a:cubicBezTo>
                        <a:pt x="734" y="41"/>
                        <a:pt x="734" y="45"/>
                        <a:pt x="736" y="53"/>
                      </a:cubicBezTo>
                      <a:close/>
                      <a:moveTo>
                        <a:pt x="870" y="33"/>
                      </a:moveTo>
                      <a:cubicBezTo>
                        <a:pt x="847" y="33"/>
                        <a:pt x="827" y="33"/>
                        <a:pt x="804" y="33"/>
                      </a:cubicBezTo>
                      <a:cubicBezTo>
                        <a:pt x="808" y="41"/>
                        <a:pt x="809" y="45"/>
                        <a:pt x="812" y="53"/>
                      </a:cubicBezTo>
                      <a:cubicBezTo>
                        <a:pt x="836" y="53"/>
                        <a:pt x="857" y="53"/>
                        <a:pt x="881" y="53"/>
                      </a:cubicBezTo>
                      <a:cubicBezTo>
                        <a:pt x="877" y="45"/>
                        <a:pt x="874" y="41"/>
                        <a:pt x="870" y="33"/>
                      </a:cubicBezTo>
                      <a:close/>
                      <a:moveTo>
                        <a:pt x="880" y="33"/>
                      </a:moveTo>
                      <a:cubicBezTo>
                        <a:pt x="884" y="41"/>
                        <a:pt x="886" y="45"/>
                        <a:pt x="891" y="53"/>
                      </a:cubicBezTo>
                      <a:cubicBezTo>
                        <a:pt x="915" y="53"/>
                        <a:pt x="936" y="53"/>
                        <a:pt x="960" y="53"/>
                      </a:cubicBezTo>
                      <a:cubicBezTo>
                        <a:pt x="955" y="45"/>
                        <a:pt x="952" y="41"/>
                        <a:pt x="947" y="33"/>
                      </a:cubicBezTo>
                      <a:cubicBezTo>
                        <a:pt x="924" y="33"/>
                        <a:pt x="903" y="33"/>
                        <a:pt x="880" y="33"/>
                      </a:cubicBezTo>
                      <a:close/>
                      <a:moveTo>
                        <a:pt x="1040" y="53"/>
                      </a:moveTo>
                      <a:cubicBezTo>
                        <a:pt x="1034" y="45"/>
                        <a:pt x="1031" y="41"/>
                        <a:pt x="1024" y="33"/>
                      </a:cubicBezTo>
                      <a:cubicBezTo>
                        <a:pt x="1001" y="33"/>
                        <a:pt x="980" y="33"/>
                        <a:pt x="956" y="33"/>
                      </a:cubicBezTo>
                      <a:cubicBezTo>
                        <a:pt x="961" y="41"/>
                        <a:pt x="964" y="45"/>
                        <a:pt x="970" y="53"/>
                      </a:cubicBezTo>
                      <a:cubicBezTo>
                        <a:pt x="994" y="53"/>
                        <a:pt x="1016" y="53"/>
                        <a:pt x="1040" y="53"/>
                      </a:cubicBezTo>
                      <a:close/>
                      <a:moveTo>
                        <a:pt x="1104" y="33"/>
                      </a:moveTo>
                      <a:cubicBezTo>
                        <a:pt x="1080" y="33"/>
                        <a:pt x="1058" y="33"/>
                        <a:pt x="1034" y="33"/>
                      </a:cubicBezTo>
                      <a:cubicBezTo>
                        <a:pt x="1040" y="41"/>
                        <a:pt x="1044" y="45"/>
                        <a:pt x="1050" y="53"/>
                      </a:cubicBezTo>
                      <a:cubicBezTo>
                        <a:pt x="1075" y="53"/>
                        <a:pt x="1097" y="53"/>
                        <a:pt x="1122" y="53"/>
                      </a:cubicBezTo>
                      <a:cubicBezTo>
                        <a:pt x="1115" y="45"/>
                        <a:pt x="1111" y="41"/>
                        <a:pt x="1104" y="33"/>
                      </a:cubicBezTo>
                      <a:close/>
                      <a:moveTo>
                        <a:pt x="1132" y="53"/>
                      </a:moveTo>
                      <a:cubicBezTo>
                        <a:pt x="1157" y="53"/>
                        <a:pt x="1179" y="53"/>
                        <a:pt x="1204" y="53"/>
                      </a:cubicBezTo>
                      <a:cubicBezTo>
                        <a:pt x="1197" y="45"/>
                        <a:pt x="1193" y="41"/>
                        <a:pt x="1185" y="33"/>
                      </a:cubicBezTo>
                      <a:cubicBezTo>
                        <a:pt x="1160" y="33"/>
                        <a:pt x="1139" y="33"/>
                        <a:pt x="1114" y="33"/>
                      </a:cubicBezTo>
                      <a:cubicBezTo>
                        <a:pt x="1121" y="41"/>
                        <a:pt x="1125" y="45"/>
                        <a:pt x="1132" y="53"/>
                      </a:cubicBezTo>
                      <a:close/>
                      <a:moveTo>
                        <a:pt x="195" y="55"/>
                      </a:moveTo>
                      <a:cubicBezTo>
                        <a:pt x="152" y="55"/>
                        <a:pt x="108" y="55"/>
                        <a:pt x="64" y="55"/>
                      </a:cubicBezTo>
                      <a:cubicBezTo>
                        <a:pt x="57" y="64"/>
                        <a:pt x="53" y="68"/>
                        <a:pt x="44" y="76"/>
                      </a:cubicBezTo>
                      <a:cubicBezTo>
                        <a:pt x="89" y="76"/>
                        <a:pt x="134" y="76"/>
                        <a:pt x="178" y="76"/>
                      </a:cubicBezTo>
                      <a:cubicBezTo>
                        <a:pt x="185" y="68"/>
                        <a:pt x="188" y="63"/>
                        <a:pt x="195" y="55"/>
                      </a:cubicBezTo>
                      <a:close/>
                      <a:moveTo>
                        <a:pt x="261" y="76"/>
                      </a:moveTo>
                      <a:cubicBezTo>
                        <a:pt x="267" y="68"/>
                        <a:pt x="270" y="63"/>
                        <a:pt x="275" y="55"/>
                      </a:cubicBezTo>
                      <a:cubicBezTo>
                        <a:pt x="251" y="55"/>
                        <a:pt x="229" y="55"/>
                        <a:pt x="204" y="55"/>
                      </a:cubicBezTo>
                      <a:cubicBezTo>
                        <a:pt x="197" y="63"/>
                        <a:pt x="194" y="68"/>
                        <a:pt x="187" y="76"/>
                      </a:cubicBezTo>
                      <a:cubicBezTo>
                        <a:pt x="213" y="76"/>
                        <a:pt x="235" y="76"/>
                        <a:pt x="261" y="76"/>
                      </a:cubicBezTo>
                      <a:close/>
                      <a:moveTo>
                        <a:pt x="355" y="55"/>
                      </a:moveTo>
                      <a:cubicBezTo>
                        <a:pt x="331" y="55"/>
                        <a:pt x="310" y="55"/>
                        <a:pt x="285" y="55"/>
                      </a:cubicBezTo>
                      <a:cubicBezTo>
                        <a:pt x="280" y="63"/>
                        <a:pt x="277" y="68"/>
                        <a:pt x="271" y="76"/>
                      </a:cubicBezTo>
                      <a:cubicBezTo>
                        <a:pt x="296" y="76"/>
                        <a:pt x="318" y="76"/>
                        <a:pt x="343" y="76"/>
                      </a:cubicBezTo>
                      <a:cubicBezTo>
                        <a:pt x="348" y="68"/>
                        <a:pt x="351" y="63"/>
                        <a:pt x="355" y="55"/>
                      </a:cubicBezTo>
                      <a:close/>
                      <a:moveTo>
                        <a:pt x="435" y="55"/>
                      </a:moveTo>
                      <a:cubicBezTo>
                        <a:pt x="411" y="55"/>
                        <a:pt x="390" y="55"/>
                        <a:pt x="366" y="55"/>
                      </a:cubicBezTo>
                      <a:cubicBezTo>
                        <a:pt x="361" y="63"/>
                        <a:pt x="359" y="68"/>
                        <a:pt x="354" y="76"/>
                      </a:cubicBezTo>
                      <a:cubicBezTo>
                        <a:pt x="379" y="76"/>
                        <a:pt x="401" y="76"/>
                        <a:pt x="426" y="76"/>
                      </a:cubicBezTo>
                      <a:cubicBezTo>
                        <a:pt x="430" y="68"/>
                        <a:pt x="431" y="63"/>
                        <a:pt x="435" y="55"/>
                      </a:cubicBezTo>
                      <a:close/>
                      <a:moveTo>
                        <a:pt x="513" y="55"/>
                      </a:moveTo>
                      <a:cubicBezTo>
                        <a:pt x="489" y="55"/>
                        <a:pt x="468" y="55"/>
                        <a:pt x="445" y="55"/>
                      </a:cubicBezTo>
                      <a:cubicBezTo>
                        <a:pt x="441" y="63"/>
                        <a:pt x="440" y="68"/>
                        <a:pt x="436" y="76"/>
                      </a:cubicBezTo>
                      <a:cubicBezTo>
                        <a:pt x="461" y="76"/>
                        <a:pt x="483" y="76"/>
                        <a:pt x="507" y="76"/>
                      </a:cubicBezTo>
                      <a:cubicBezTo>
                        <a:pt x="510" y="67"/>
                        <a:pt x="511" y="63"/>
                        <a:pt x="513" y="55"/>
                      </a:cubicBezTo>
                      <a:close/>
                      <a:moveTo>
                        <a:pt x="591" y="55"/>
                      </a:moveTo>
                      <a:cubicBezTo>
                        <a:pt x="567" y="55"/>
                        <a:pt x="546" y="55"/>
                        <a:pt x="523" y="55"/>
                      </a:cubicBezTo>
                      <a:cubicBezTo>
                        <a:pt x="521" y="63"/>
                        <a:pt x="520" y="67"/>
                        <a:pt x="518" y="76"/>
                      </a:cubicBezTo>
                      <a:cubicBezTo>
                        <a:pt x="542" y="76"/>
                        <a:pt x="564" y="76"/>
                        <a:pt x="589" y="76"/>
                      </a:cubicBezTo>
                      <a:cubicBezTo>
                        <a:pt x="590" y="67"/>
                        <a:pt x="590" y="63"/>
                        <a:pt x="591" y="55"/>
                      </a:cubicBezTo>
                      <a:close/>
                      <a:moveTo>
                        <a:pt x="668" y="55"/>
                      </a:moveTo>
                      <a:cubicBezTo>
                        <a:pt x="644" y="55"/>
                        <a:pt x="623" y="55"/>
                        <a:pt x="600" y="55"/>
                      </a:cubicBezTo>
                      <a:cubicBezTo>
                        <a:pt x="599" y="63"/>
                        <a:pt x="599" y="67"/>
                        <a:pt x="598" y="76"/>
                      </a:cubicBezTo>
                      <a:cubicBezTo>
                        <a:pt x="623" y="76"/>
                        <a:pt x="645" y="76"/>
                        <a:pt x="669" y="76"/>
                      </a:cubicBezTo>
                      <a:cubicBezTo>
                        <a:pt x="669" y="67"/>
                        <a:pt x="668" y="63"/>
                        <a:pt x="668" y="55"/>
                      </a:cubicBezTo>
                      <a:close/>
                      <a:moveTo>
                        <a:pt x="745" y="55"/>
                      </a:moveTo>
                      <a:cubicBezTo>
                        <a:pt x="722" y="55"/>
                        <a:pt x="701" y="55"/>
                        <a:pt x="677" y="55"/>
                      </a:cubicBezTo>
                      <a:cubicBezTo>
                        <a:pt x="678" y="63"/>
                        <a:pt x="679" y="67"/>
                        <a:pt x="679" y="76"/>
                      </a:cubicBezTo>
                      <a:cubicBezTo>
                        <a:pt x="704" y="76"/>
                        <a:pt x="726" y="76"/>
                        <a:pt x="750" y="76"/>
                      </a:cubicBezTo>
                      <a:cubicBezTo>
                        <a:pt x="748" y="67"/>
                        <a:pt x="747" y="63"/>
                        <a:pt x="745" y="55"/>
                      </a:cubicBezTo>
                      <a:close/>
                      <a:moveTo>
                        <a:pt x="824" y="55"/>
                      </a:moveTo>
                      <a:cubicBezTo>
                        <a:pt x="800" y="55"/>
                        <a:pt x="779" y="55"/>
                        <a:pt x="756" y="55"/>
                      </a:cubicBezTo>
                      <a:cubicBezTo>
                        <a:pt x="758" y="63"/>
                        <a:pt x="759" y="67"/>
                        <a:pt x="761" y="76"/>
                      </a:cubicBezTo>
                      <a:cubicBezTo>
                        <a:pt x="786" y="76"/>
                        <a:pt x="808" y="76"/>
                        <a:pt x="832" y="76"/>
                      </a:cubicBezTo>
                      <a:cubicBezTo>
                        <a:pt x="829" y="67"/>
                        <a:pt x="827" y="63"/>
                        <a:pt x="824" y="55"/>
                      </a:cubicBezTo>
                      <a:close/>
                      <a:moveTo>
                        <a:pt x="912" y="75"/>
                      </a:moveTo>
                      <a:cubicBezTo>
                        <a:pt x="908" y="67"/>
                        <a:pt x="906" y="63"/>
                        <a:pt x="901" y="55"/>
                      </a:cubicBezTo>
                      <a:cubicBezTo>
                        <a:pt x="877" y="55"/>
                        <a:pt x="856" y="55"/>
                        <a:pt x="832" y="55"/>
                      </a:cubicBezTo>
                      <a:cubicBezTo>
                        <a:pt x="836" y="63"/>
                        <a:pt x="837" y="67"/>
                        <a:pt x="841" y="76"/>
                      </a:cubicBezTo>
                      <a:cubicBezTo>
                        <a:pt x="866" y="76"/>
                        <a:pt x="888" y="75"/>
                        <a:pt x="912" y="75"/>
                      </a:cubicBezTo>
                      <a:close/>
                      <a:moveTo>
                        <a:pt x="981" y="55"/>
                      </a:moveTo>
                      <a:cubicBezTo>
                        <a:pt x="957" y="55"/>
                        <a:pt x="935" y="55"/>
                        <a:pt x="911" y="55"/>
                      </a:cubicBezTo>
                      <a:cubicBezTo>
                        <a:pt x="916" y="63"/>
                        <a:pt x="918" y="67"/>
                        <a:pt x="923" y="75"/>
                      </a:cubicBezTo>
                      <a:cubicBezTo>
                        <a:pt x="948" y="75"/>
                        <a:pt x="970" y="75"/>
                        <a:pt x="995" y="75"/>
                      </a:cubicBezTo>
                      <a:cubicBezTo>
                        <a:pt x="990" y="67"/>
                        <a:pt x="987" y="63"/>
                        <a:pt x="981" y="55"/>
                      </a:cubicBezTo>
                      <a:close/>
                      <a:moveTo>
                        <a:pt x="1078" y="75"/>
                      </a:moveTo>
                      <a:cubicBezTo>
                        <a:pt x="1072" y="67"/>
                        <a:pt x="1068" y="63"/>
                        <a:pt x="1062" y="55"/>
                      </a:cubicBezTo>
                      <a:cubicBezTo>
                        <a:pt x="1037" y="55"/>
                        <a:pt x="1015" y="55"/>
                        <a:pt x="990" y="55"/>
                      </a:cubicBezTo>
                      <a:cubicBezTo>
                        <a:pt x="996" y="63"/>
                        <a:pt x="999" y="67"/>
                        <a:pt x="1005" y="75"/>
                      </a:cubicBezTo>
                      <a:cubicBezTo>
                        <a:pt x="1030" y="75"/>
                        <a:pt x="1053" y="75"/>
                        <a:pt x="1078" y="75"/>
                      </a:cubicBezTo>
                      <a:close/>
                      <a:moveTo>
                        <a:pt x="1088" y="75"/>
                      </a:moveTo>
                      <a:cubicBezTo>
                        <a:pt x="1134" y="75"/>
                        <a:pt x="1180" y="75"/>
                        <a:pt x="1226" y="75"/>
                      </a:cubicBezTo>
                      <a:cubicBezTo>
                        <a:pt x="1218" y="67"/>
                        <a:pt x="1214" y="63"/>
                        <a:pt x="1207" y="55"/>
                      </a:cubicBezTo>
                      <a:cubicBezTo>
                        <a:pt x="1162" y="55"/>
                        <a:pt x="1117" y="55"/>
                        <a:pt x="1072" y="55"/>
                      </a:cubicBezTo>
                      <a:cubicBezTo>
                        <a:pt x="1078" y="63"/>
                        <a:pt x="1082" y="67"/>
                        <a:pt x="1088" y="75"/>
                      </a:cubicBezTo>
                      <a:close/>
                      <a:moveTo>
                        <a:pt x="221" y="78"/>
                      </a:moveTo>
                      <a:cubicBezTo>
                        <a:pt x="161" y="78"/>
                        <a:pt x="102" y="78"/>
                        <a:pt x="43" y="79"/>
                      </a:cubicBezTo>
                      <a:cubicBezTo>
                        <a:pt x="34" y="87"/>
                        <a:pt x="30" y="92"/>
                        <a:pt x="22" y="100"/>
                      </a:cubicBezTo>
                      <a:cubicBezTo>
                        <a:pt x="83" y="100"/>
                        <a:pt x="144" y="100"/>
                        <a:pt x="204" y="100"/>
                      </a:cubicBezTo>
                      <a:cubicBezTo>
                        <a:pt x="211" y="91"/>
                        <a:pt x="214" y="87"/>
                        <a:pt x="221" y="78"/>
                      </a:cubicBezTo>
                      <a:close/>
                      <a:moveTo>
                        <a:pt x="289" y="100"/>
                      </a:moveTo>
                      <a:cubicBezTo>
                        <a:pt x="295" y="91"/>
                        <a:pt x="297" y="87"/>
                        <a:pt x="303" y="78"/>
                      </a:cubicBezTo>
                      <a:cubicBezTo>
                        <a:pt x="277" y="78"/>
                        <a:pt x="255" y="78"/>
                        <a:pt x="230" y="78"/>
                      </a:cubicBezTo>
                      <a:cubicBezTo>
                        <a:pt x="223" y="87"/>
                        <a:pt x="220" y="91"/>
                        <a:pt x="214" y="100"/>
                      </a:cubicBezTo>
                      <a:cubicBezTo>
                        <a:pt x="240" y="100"/>
                        <a:pt x="263" y="100"/>
                        <a:pt x="289" y="100"/>
                      </a:cubicBezTo>
                      <a:close/>
                      <a:moveTo>
                        <a:pt x="313" y="78"/>
                      </a:moveTo>
                      <a:cubicBezTo>
                        <a:pt x="308" y="87"/>
                        <a:pt x="305" y="91"/>
                        <a:pt x="300" y="99"/>
                      </a:cubicBezTo>
                      <a:cubicBezTo>
                        <a:pt x="326" y="99"/>
                        <a:pt x="349" y="99"/>
                        <a:pt x="375" y="99"/>
                      </a:cubicBezTo>
                      <a:cubicBezTo>
                        <a:pt x="379" y="91"/>
                        <a:pt x="381" y="87"/>
                        <a:pt x="385" y="78"/>
                      </a:cubicBezTo>
                      <a:cubicBezTo>
                        <a:pt x="360" y="78"/>
                        <a:pt x="338" y="78"/>
                        <a:pt x="313" y="78"/>
                      </a:cubicBezTo>
                      <a:close/>
                      <a:moveTo>
                        <a:pt x="468" y="78"/>
                      </a:moveTo>
                      <a:cubicBezTo>
                        <a:pt x="443" y="78"/>
                        <a:pt x="421" y="78"/>
                        <a:pt x="396" y="78"/>
                      </a:cubicBezTo>
                      <a:cubicBezTo>
                        <a:pt x="392" y="87"/>
                        <a:pt x="390" y="91"/>
                        <a:pt x="386" y="99"/>
                      </a:cubicBezTo>
                      <a:cubicBezTo>
                        <a:pt x="412" y="99"/>
                        <a:pt x="435" y="99"/>
                        <a:pt x="461" y="99"/>
                      </a:cubicBezTo>
                      <a:cubicBezTo>
                        <a:pt x="464" y="91"/>
                        <a:pt x="465" y="87"/>
                        <a:pt x="468" y="78"/>
                      </a:cubicBezTo>
                      <a:close/>
                      <a:moveTo>
                        <a:pt x="550" y="78"/>
                      </a:moveTo>
                      <a:cubicBezTo>
                        <a:pt x="525" y="78"/>
                        <a:pt x="503" y="78"/>
                        <a:pt x="478" y="78"/>
                      </a:cubicBezTo>
                      <a:cubicBezTo>
                        <a:pt x="475" y="87"/>
                        <a:pt x="474" y="91"/>
                        <a:pt x="471" y="99"/>
                      </a:cubicBezTo>
                      <a:cubicBezTo>
                        <a:pt x="497" y="99"/>
                        <a:pt x="520" y="99"/>
                        <a:pt x="546" y="99"/>
                      </a:cubicBezTo>
                      <a:cubicBezTo>
                        <a:pt x="547" y="91"/>
                        <a:pt x="548" y="86"/>
                        <a:pt x="550" y="78"/>
                      </a:cubicBezTo>
                      <a:close/>
                      <a:moveTo>
                        <a:pt x="560" y="78"/>
                      </a:moveTo>
                      <a:cubicBezTo>
                        <a:pt x="559" y="86"/>
                        <a:pt x="558" y="91"/>
                        <a:pt x="557" y="99"/>
                      </a:cubicBezTo>
                      <a:cubicBezTo>
                        <a:pt x="583" y="99"/>
                        <a:pt x="605" y="99"/>
                        <a:pt x="631" y="99"/>
                      </a:cubicBezTo>
                      <a:cubicBezTo>
                        <a:pt x="631" y="91"/>
                        <a:pt x="631" y="86"/>
                        <a:pt x="631" y="78"/>
                      </a:cubicBezTo>
                      <a:cubicBezTo>
                        <a:pt x="607" y="78"/>
                        <a:pt x="585" y="78"/>
                        <a:pt x="560" y="78"/>
                      </a:cubicBezTo>
                      <a:close/>
                      <a:moveTo>
                        <a:pt x="715" y="99"/>
                      </a:moveTo>
                      <a:cubicBezTo>
                        <a:pt x="714" y="90"/>
                        <a:pt x="713" y="86"/>
                        <a:pt x="712" y="78"/>
                      </a:cubicBezTo>
                      <a:cubicBezTo>
                        <a:pt x="687" y="78"/>
                        <a:pt x="665" y="78"/>
                        <a:pt x="641" y="78"/>
                      </a:cubicBezTo>
                      <a:cubicBezTo>
                        <a:pt x="641" y="86"/>
                        <a:pt x="641" y="91"/>
                        <a:pt x="641" y="99"/>
                      </a:cubicBezTo>
                      <a:cubicBezTo>
                        <a:pt x="667" y="99"/>
                        <a:pt x="690" y="99"/>
                        <a:pt x="715" y="99"/>
                      </a:cubicBezTo>
                      <a:close/>
                      <a:moveTo>
                        <a:pt x="801" y="99"/>
                      </a:moveTo>
                      <a:cubicBezTo>
                        <a:pt x="798" y="90"/>
                        <a:pt x="796" y="86"/>
                        <a:pt x="794" y="78"/>
                      </a:cubicBezTo>
                      <a:cubicBezTo>
                        <a:pt x="769" y="78"/>
                        <a:pt x="747" y="78"/>
                        <a:pt x="722" y="78"/>
                      </a:cubicBezTo>
                      <a:cubicBezTo>
                        <a:pt x="724" y="86"/>
                        <a:pt x="725" y="90"/>
                        <a:pt x="726" y="99"/>
                      </a:cubicBezTo>
                      <a:cubicBezTo>
                        <a:pt x="752" y="99"/>
                        <a:pt x="775" y="99"/>
                        <a:pt x="801" y="99"/>
                      </a:cubicBezTo>
                      <a:close/>
                      <a:moveTo>
                        <a:pt x="887" y="98"/>
                      </a:moveTo>
                      <a:cubicBezTo>
                        <a:pt x="882" y="90"/>
                        <a:pt x="880" y="86"/>
                        <a:pt x="876" y="78"/>
                      </a:cubicBezTo>
                      <a:cubicBezTo>
                        <a:pt x="851" y="78"/>
                        <a:pt x="829" y="78"/>
                        <a:pt x="804" y="78"/>
                      </a:cubicBezTo>
                      <a:cubicBezTo>
                        <a:pt x="807" y="86"/>
                        <a:pt x="809" y="90"/>
                        <a:pt x="812" y="99"/>
                      </a:cubicBezTo>
                      <a:cubicBezTo>
                        <a:pt x="838" y="99"/>
                        <a:pt x="861" y="98"/>
                        <a:pt x="887" y="98"/>
                      </a:cubicBezTo>
                      <a:close/>
                      <a:moveTo>
                        <a:pt x="970" y="98"/>
                      </a:moveTo>
                      <a:cubicBezTo>
                        <a:pt x="965" y="90"/>
                        <a:pt x="962" y="86"/>
                        <a:pt x="957" y="78"/>
                      </a:cubicBezTo>
                      <a:cubicBezTo>
                        <a:pt x="932" y="78"/>
                        <a:pt x="910" y="78"/>
                        <a:pt x="885" y="78"/>
                      </a:cubicBezTo>
                      <a:cubicBezTo>
                        <a:pt x="889" y="86"/>
                        <a:pt x="891" y="90"/>
                        <a:pt x="895" y="98"/>
                      </a:cubicBezTo>
                      <a:cubicBezTo>
                        <a:pt x="921" y="98"/>
                        <a:pt x="944" y="98"/>
                        <a:pt x="970" y="98"/>
                      </a:cubicBezTo>
                      <a:close/>
                      <a:moveTo>
                        <a:pt x="1057" y="98"/>
                      </a:moveTo>
                      <a:cubicBezTo>
                        <a:pt x="1050" y="90"/>
                        <a:pt x="1047" y="86"/>
                        <a:pt x="1041" y="77"/>
                      </a:cubicBezTo>
                      <a:cubicBezTo>
                        <a:pt x="1015" y="77"/>
                        <a:pt x="993" y="77"/>
                        <a:pt x="968" y="78"/>
                      </a:cubicBezTo>
                      <a:cubicBezTo>
                        <a:pt x="973" y="86"/>
                        <a:pt x="976" y="90"/>
                        <a:pt x="981" y="98"/>
                      </a:cubicBezTo>
                      <a:cubicBezTo>
                        <a:pt x="1007" y="98"/>
                        <a:pt x="1031" y="98"/>
                        <a:pt x="1057" y="98"/>
                      </a:cubicBezTo>
                      <a:close/>
                      <a:moveTo>
                        <a:pt x="1066" y="98"/>
                      </a:moveTo>
                      <a:cubicBezTo>
                        <a:pt x="1127" y="98"/>
                        <a:pt x="1187" y="98"/>
                        <a:pt x="1248" y="98"/>
                      </a:cubicBezTo>
                      <a:cubicBezTo>
                        <a:pt x="1241" y="90"/>
                        <a:pt x="1235" y="84"/>
                        <a:pt x="1228" y="77"/>
                      </a:cubicBezTo>
                      <a:cubicBezTo>
                        <a:pt x="1169" y="77"/>
                        <a:pt x="1110" y="77"/>
                        <a:pt x="1050" y="77"/>
                      </a:cubicBezTo>
                      <a:cubicBezTo>
                        <a:pt x="1057" y="86"/>
                        <a:pt x="1060" y="90"/>
                        <a:pt x="1066" y="98"/>
                      </a:cubicBezTo>
                      <a:close/>
                      <a:moveTo>
                        <a:pt x="20" y="103"/>
                      </a:moveTo>
                      <a:cubicBezTo>
                        <a:pt x="12" y="112"/>
                        <a:pt x="8" y="116"/>
                        <a:pt x="0" y="125"/>
                      </a:cubicBezTo>
                      <a:cubicBezTo>
                        <a:pt x="26" y="125"/>
                        <a:pt x="50" y="125"/>
                        <a:pt x="76" y="125"/>
                      </a:cubicBezTo>
                      <a:cubicBezTo>
                        <a:pt x="84" y="116"/>
                        <a:pt x="88" y="112"/>
                        <a:pt x="96" y="103"/>
                      </a:cubicBezTo>
                      <a:cubicBezTo>
                        <a:pt x="69" y="103"/>
                        <a:pt x="46" y="103"/>
                        <a:pt x="20" y="103"/>
                      </a:cubicBezTo>
                      <a:close/>
                      <a:moveTo>
                        <a:pt x="104" y="103"/>
                      </a:moveTo>
                      <a:cubicBezTo>
                        <a:pt x="96" y="112"/>
                        <a:pt x="93" y="116"/>
                        <a:pt x="85" y="125"/>
                      </a:cubicBezTo>
                      <a:cubicBezTo>
                        <a:pt x="112" y="125"/>
                        <a:pt x="135" y="125"/>
                        <a:pt x="162" y="125"/>
                      </a:cubicBezTo>
                      <a:cubicBezTo>
                        <a:pt x="169" y="116"/>
                        <a:pt x="172" y="112"/>
                        <a:pt x="180" y="102"/>
                      </a:cubicBezTo>
                      <a:cubicBezTo>
                        <a:pt x="153" y="102"/>
                        <a:pt x="130" y="103"/>
                        <a:pt x="104" y="103"/>
                      </a:cubicBezTo>
                      <a:close/>
                      <a:moveTo>
                        <a:pt x="173" y="125"/>
                      </a:moveTo>
                      <a:cubicBezTo>
                        <a:pt x="200" y="125"/>
                        <a:pt x="224" y="125"/>
                        <a:pt x="251" y="125"/>
                      </a:cubicBezTo>
                      <a:cubicBezTo>
                        <a:pt x="257" y="116"/>
                        <a:pt x="260" y="111"/>
                        <a:pt x="266" y="102"/>
                      </a:cubicBezTo>
                      <a:cubicBezTo>
                        <a:pt x="239" y="102"/>
                        <a:pt x="216" y="102"/>
                        <a:pt x="190" y="102"/>
                      </a:cubicBezTo>
                      <a:cubicBezTo>
                        <a:pt x="183" y="112"/>
                        <a:pt x="179" y="116"/>
                        <a:pt x="173" y="125"/>
                      </a:cubicBezTo>
                      <a:close/>
                      <a:moveTo>
                        <a:pt x="262" y="124"/>
                      </a:moveTo>
                      <a:cubicBezTo>
                        <a:pt x="296" y="124"/>
                        <a:pt x="329" y="124"/>
                        <a:pt x="363" y="124"/>
                      </a:cubicBezTo>
                      <a:cubicBezTo>
                        <a:pt x="367" y="116"/>
                        <a:pt x="369" y="111"/>
                        <a:pt x="374" y="102"/>
                      </a:cubicBezTo>
                      <a:cubicBezTo>
                        <a:pt x="341" y="102"/>
                        <a:pt x="309" y="102"/>
                        <a:pt x="277" y="102"/>
                      </a:cubicBezTo>
                      <a:cubicBezTo>
                        <a:pt x="271" y="111"/>
                        <a:pt x="268" y="116"/>
                        <a:pt x="262" y="124"/>
                      </a:cubicBezTo>
                      <a:close/>
                      <a:moveTo>
                        <a:pt x="385" y="102"/>
                      </a:moveTo>
                      <a:cubicBezTo>
                        <a:pt x="381" y="111"/>
                        <a:pt x="379" y="116"/>
                        <a:pt x="375" y="124"/>
                      </a:cubicBezTo>
                      <a:cubicBezTo>
                        <a:pt x="519" y="124"/>
                        <a:pt x="664" y="124"/>
                        <a:pt x="809" y="124"/>
                      </a:cubicBezTo>
                      <a:cubicBezTo>
                        <a:pt x="806" y="115"/>
                        <a:pt x="804" y="110"/>
                        <a:pt x="801" y="101"/>
                      </a:cubicBezTo>
                      <a:cubicBezTo>
                        <a:pt x="663" y="102"/>
                        <a:pt x="524" y="102"/>
                        <a:pt x="385" y="102"/>
                      </a:cubicBezTo>
                      <a:close/>
                      <a:moveTo>
                        <a:pt x="812" y="101"/>
                      </a:moveTo>
                      <a:cubicBezTo>
                        <a:pt x="815" y="110"/>
                        <a:pt x="817" y="115"/>
                        <a:pt x="820" y="123"/>
                      </a:cubicBezTo>
                      <a:cubicBezTo>
                        <a:pt x="853" y="123"/>
                        <a:pt x="887" y="123"/>
                        <a:pt x="920" y="123"/>
                      </a:cubicBezTo>
                      <a:cubicBezTo>
                        <a:pt x="915" y="114"/>
                        <a:pt x="913" y="110"/>
                        <a:pt x="908" y="101"/>
                      </a:cubicBezTo>
                      <a:cubicBezTo>
                        <a:pt x="876" y="101"/>
                        <a:pt x="844" y="101"/>
                        <a:pt x="812" y="101"/>
                      </a:cubicBezTo>
                      <a:close/>
                      <a:moveTo>
                        <a:pt x="918" y="101"/>
                      </a:moveTo>
                      <a:cubicBezTo>
                        <a:pt x="923" y="110"/>
                        <a:pt x="925" y="114"/>
                        <a:pt x="930" y="123"/>
                      </a:cubicBezTo>
                      <a:cubicBezTo>
                        <a:pt x="957" y="123"/>
                        <a:pt x="981" y="123"/>
                        <a:pt x="1008" y="123"/>
                      </a:cubicBezTo>
                      <a:cubicBezTo>
                        <a:pt x="1002" y="114"/>
                        <a:pt x="999" y="110"/>
                        <a:pt x="993" y="101"/>
                      </a:cubicBezTo>
                      <a:cubicBezTo>
                        <a:pt x="967" y="101"/>
                        <a:pt x="944" y="101"/>
                        <a:pt x="918" y="101"/>
                      </a:cubicBezTo>
                      <a:close/>
                      <a:moveTo>
                        <a:pt x="1010" y="113"/>
                      </a:moveTo>
                      <a:cubicBezTo>
                        <a:pt x="1012" y="117"/>
                        <a:pt x="1014" y="119"/>
                        <a:pt x="1017" y="123"/>
                      </a:cubicBezTo>
                      <a:cubicBezTo>
                        <a:pt x="1044" y="123"/>
                        <a:pt x="1068" y="123"/>
                        <a:pt x="1096" y="123"/>
                      </a:cubicBezTo>
                      <a:cubicBezTo>
                        <a:pt x="1092" y="119"/>
                        <a:pt x="1091" y="117"/>
                        <a:pt x="1088" y="113"/>
                      </a:cubicBezTo>
                      <a:cubicBezTo>
                        <a:pt x="1061" y="113"/>
                        <a:pt x="1037" y="113"/>
                        <a:pt x="1010" y="113"/>
                      </a:cubicBezTo>
                      <a:close/>
                      <a:moveTo>
                        <a:pt x="1162" y="100"/>
                      </a:moveTo>
                      <a:cubicBezTo>
                        <a:pt x="1136" y="100"/>
                        <a:pt x="1113" y="100"/>
                        <a:pt x="1087" y="100"/>
                      </a:cubicBezTo>
                      <a:cubicBezTo>
                        <a:pt x="1090" y="104"/>
                        <a:pt x="1092" y="106"/>
                        <a:pt x="1095" y="110"/>
                      </a:cubicBezTo>
                      <a:cubicBezTo>
                        <a:pt x="1121" y="110"/>
                        <a:pt x="1145" y="110"/>
                        <a:pt x="1171" y="110"/>
                      </a:cubicBezTo>
                      <a:cubicBezTo>
                        <a:pt x="1168" y="106"/>
                        <a:pt x="1166" y="104"/>
                        <a:pt x="1162" y="100"/>
                      </a:cubicBezTo>
                      <a:close/>
                      <a:moveTo>
                        <a:pt x="1097" y="113"/>
                      </a:moveTo>
                      <a:cubicBezTo>
                        <a:pt x="1100" y="117"/>
                        <a:pt x="1102" y="119"/>
                        <a:pt x="1105" y="123"/>
                      </a:cubicBezTo>
                      <a:cubicBezTo>
                        <a:pt x="1131" y="123"/>
                        <a:pt x="1157" y="123"/>
                        <a:pt x="1183" y="123"/>
                      </a:cubicBezTo>
                      <a:cubicBezTo>
                        <a:pt x="1179" y="119"/>
                        <a:pt x="1177" y="117"/>
                        <a:pt x="1174" y="113"/>
                      </a:cubicBezTo>
                      <a:cubicBezTo>
                        <a:pt x="1147" y="113"/>
                        <a:pt x="1124" y="113"/>
                        <a:pt x="1097" y="113"/>
                      </a:cubicBezTo>
                      <a:close/>
                      <a:moveTo>
                        <a:pt x="1263" y="113"/>
                      </a:moveTo>
                      <a:cubicBezTo>
                        <a:pt x="1235" y="113"/>
                        <a:pt x="1211" y="113"/>
                        <a:pt x="1184" y="113"/>
                      </a:cubicBezTo>
                      <a:cubicBezTo>
                        <a:pt x="1187" y="117"/>
                        <a:pt x="1189" y="119"/>
                        <a:pt x="1192" y="123"/>
                      </a:cubicBezTo>
                      <a:cubicBezTo>
                        <a:pt x="1219" y="123"/>
                        <a:pt x="1246" y="123"/>
                        <a:pt x="1272" y="123"/>
                      </a:cubicBezTo>
                      <a:cubicBezTo>
                        <a:pt x="1269" y="119"/>
                        <a:pt x="1267" y="117"/>
                        <a:pt x="1263" y="113"/>
                      </a:cubicBezTo>
                      <a:close/>
                    </a:path>
                  </a:pathLst>
                </a:custGeom>
                <a:solidFill>
                  <a:srgbClr val="4D4D4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dirty="0">
                    <a:solidFill>
                      <a:srgbClr val="1A1812"/>
                    </a:solidFill>
                  </a:endParaRPr>
                </a:p>
              </p:txBody>
            </p:sp>
          </p:grpSp>
        </p:grpSp>
        <p:sp>
          <p:nvSpPr>
            <p:cNvPr id="90" name="Freeform 14">
              <a:extLst>
                <a:ext uri="{FF2B5EF4-FFF2-40B4-BE49-F238E27FC236}">
                  <a16:creationId xmlns:a16="http://schemas.microsoft.com/office/drawing/2014/main" id="{F883067A-3AB9-4BB2-BA96-540A0F95FB54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5566" y="3173067"/>
              <a:ext cx="15767" cy="157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0" y="0"/>
                </a:cxn>
              </a:cxnLst>
              <a:rect l="0" t="0" r="r" b="b"/>
              <a:pathLst>
                <a:path w="24" h="2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1A1812"/>
                </a:solidFill>
              </a:endParaRPr>
            </a:p>
          </p:txBody>
        </p:sp>
        <p:sp>
          <p:nvSpPr>
            <p:cNvPr id="79" name="Rechteck 266">
              <a:extLst>
                <a:ext uri="{FF2B5EF4-FFF2-40B4-BE49-F238E27FC236}">
                  <a16:creationId xmlns:a16="http://schemas.microsoft.com/office/drawing/2014/main" id="{5E606B45-7408-4D10-A2A1-9EA3A7AE488A}"/>
                </a:ext>
              </a:extLst>
            </p:cNvPr>
            <p:cNvSpPr/>
            <p:nvPr/>
          </p:nvSpPr>
          <p:spPr bwMode="gray">
            <a:xfrm>
              <a:off x="6017190" y="1080050"/>
              <a:ext cx="1481278" cy="1043454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2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Unsupervised</a:t>
              </a:r>
            </a:p>
            <a:p>
              <a:pPr algn="ctr">
                <a:lnSpc>
                  <a:spcPct val="80000"/>
                </a:lnSpc>
              </a:pPr>
              <a:r>
                <a:rPr lang="en-US" sz="12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Machine Learning Algorithm</a:t>
              </a:r>
            </a:p>
          </p:txBody>
        </p:sp>
      </p:grpSp>
      <p:sp>
        <p:nvSpPr>
          <p:cNvPr id="113" name="Rectangle 115">
            <a:extLst>
              <a:ext uri="{FF2B5EF4-FFF2-40B4-BE49-F238E27FC236}">
                <a16:creationId xmlns:a16="http://schemas.microsoft.com/office/drawing/2014/main" id="{7874BB12-FFC6-471E-A169-8D2ACE6966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6540" y="5850431"/>
            <a:ext cx="8313494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20000"/>
              </a:spcBef>
            </a:pPr>
            <a:r>
              <a:rPr lang="en-GB" altLang="en-US" sz="12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</a:t>
            </a:r>
          </a:p>
          <a:p>
            <a:r>
              <a:rPr lang="en-US" sz="1200" i="1" dirty="0">
                <a:solidFill>
                  <a:schemeClr val="accent4">
                    <a:lumMod val="10000"/>
                  </a:schemeClr>
                </a:solidFill>
                <a:cs typeface="Open Sans Light"/>
              </a:rPr>
              <a:t>HNG: High Need Group, members with 2 or more critical chronic conditions or with 6 or more general chronic conditions</a:t>
            </a:r>
            <a:endParaRPr lang="en-US" sz="1200" dirty="0"/>
          </a:p>
        </p:txBody>
      </p:sp>
      <p:pic>
        <p:nvPicPr>
          <p:cNvPr id="2" name="Picture 1" descr="Man and woman">
            <a:extLst>
              <a:ext uri="{FF2B5EF4-FFF2-40B4-BE49-F238E27FC236}">
                <a16:creationId xmlns:a16="http://schemas.microsoft.com/office/drawing/2014/main" id="{BEDD81ED-ACD6-4DAB-8FFE-7C5E934CA1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59026" y="3132440"/>
            <a:ext cx="894057" cy="894057"/>
          </a:xfrm>
          <a:prstGeom prst="rect">
            <a:avLst/>
          </a:prstGeom>
          <a:noFill/>
        </p:spPr>
      </p:pic>
      <p:pic>
        <p:nvPicPr>
          <p:cNvPr id="115" name="Picture 1" descr="Man">
            <a:extLst>
              <a:ext uri="{FF2B5EF4-FFF2-40B4-BE49-F238E27FC236}">
                <a16:creationId xmlns:a16="http://schemas.microsoft.com/office/drawing/2014/main" id="{850C8495-B121-45F2-A81F-A1290BB47C1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367489" y="4518488"/>
            <a:ext cx="787056" cy="787056"/>
          </a:xfrm>
          <a:prstGeom prst="rect">
            <a:avLst/>
          </a:prstGeom>
          <a:noFill/>
        </p:spPr>
      </p:pic>
      <p:pic>
        <p:nvPicPr>
          <p:cNvPr id="116" name="Picture 1" descr="Group of men">
            <a:extLst>
              <a:ext uri="{FF2B5EF4-FFF2-40B4-BE49-F238E27FC236}">
                <a16:creationId xmlns:a16="http://schemas.microsoft.com/office/drawing/2014/main" id="{54E08424-0580-4B23-846A-BDD3BCA6F55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329895" y="1727768"/>
            <a:ext cx="815481" cy="815481"/>
          </a:xfrm>
          <a:prstGeom prst="rect">
            <a:avLst/>
          </a:prstGeom>
          <a:noFill/>
        </p:spPr>
      </p:pic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29AD6F1C-11DE-40E5-886E-EAA4DFB4383F}"/>
              </a:ext>
            </a:extLst>
          </p:cNvPr>
          <p:cNvCxnSpPr>
            <a:cxnSpLocks/>
          </p:cNvCxnSpPr>
          <p:nvPr/>
        </p:nvCxnSpPr>
        <p:spPr>
          <a:xfrm flipH="1" flipV="1">
            <a:off x="8371649" y="2989362"/>
            <a:ext cx="3197391" cy="11836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440B691A-5968-419E-B5C1-47B8222231F1}"/>
              </a:ext>
            </a:extLst>
          </p:cNvPr>
          <p:cNvCxnSpPr>
            <a:cxnSpLocks/>
          </p:cNvCxnSpPr>
          <p:nvPr/>
        </p:nvCxnSpPr>
        <p:spPr>
          <a:xfrm flipH="1">
            <a:off x="8446922" y="4542572"/>
            <a:ext cx="3118675" cy="1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AutoShape 5">
            <a:extLst>
              <a:ext uri="{FF2B5EF4-FFF2-40B4-BE49-F238E27FC236}">
                <a16:creationId xmlns:a16="http://schemas.microsoft.com/office/drawing/2014/main" id="{9D811055-1205-4B37-8647-D0871E56FEC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3753" y="1219200"/>
            <a:ext cx="11373329" cy="290545"/>
          </a:xfrm>
          <a:prstGeom prst="homePlate">
            <a:avLst>
              <a:gd name="adj" fmla="val 21760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indent="-180000" algn="ctr">
              <a:lnSpc>
                <a:spcPct val="95000"/>
              </a:lnSpc>
              <a:spcAft>
                <a:spcPts val="800"/>
              </a:spcAft>
            </a:pPr>
            <a:r>
              <a:rPr lang="en-US" altLang="de-DE" sz="1400" b="1" noProof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gmentation Definitions</a:t>
            </a:r>
          </a:p>
        </p:txBody>
      </p:sp>
    </p:spTree>
    <p:extLst>
      <p:ext uri="{BB962C8B-B14F-4D97-AF65-F5344CB8AC3E}">
        <p14:creationId xmlns:p14="http://schemas.microsoft.com/office/powerpoint/2010/main" val="20806235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D6EA33A-266E-42DA-9E06-486395A58F75}"/>
              </a:ext>
            </a:extLst>
          </p:cNvPr>
          <p:cNvSpPr txBox="1">
            <a:spLocks/>
          </p:cNvSpPr>
          <p:nvPr/>
        </p:nvSpPr>
        <p:spPr>
          <a:xfrm>
            <a:off x="1370012" y="262138"/>
            <a:ext cx="10121889" cy="73161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Predicted Veteran Profiling – New York</a:t>
            </a:r>
          </a:p>
          <a:p>
            <a:pPr lvl="0">
              <a:defRPr/>
            </a:pPr>
            <a:r>
              <a:rPr lang="en-US" sz="1600" i="1" dirty="0">
                <a:solidFill>
                  <a:srgbClr val="CC0000"/>
                </a:solidFill>
              </a:rPr>
              <a:t>Stratify the predicted veterans based on their health conditions, utilizations, demographic factors.</a:t>
            </a: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srgbClr val="CC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C365C7D-C769-460D-8B7F-B4BEED84B6D4}"/>
              </a:ext>
            </a:extLst>
          </p:cNvPr>
          <p:cNvGrpSpPr/>
          <p:nvPr/>
        </p:nvGrpSpPr>
        <p:grpSpPr>
          <a:xfrm>
            <a:off x="446540" y="285863"/>
            <a:ext cx="745717" cy="707886"/>
            <a:chOff x="-1706746" y="1081861"/>
            <a:chExt cx="745717" cy="70788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B7A8FE4-1952-458B-AD07-1986E2648FBA}"/>
                </a:ext>
              </a:extLst>
            </p:cNvPr>
            <p:cNvSpPr/>
            <p:nvPr/>
          </p:nvSpPr>
          <p:spPr>
            <a:xfrm>
              <a:off x="-1706746" y="1081861"/>
              <a:ext cx="745717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000" b="1" dirty="0">
                  <a:solidFill>
                    <a:srgbClr val="C00000"/>
                  </a:solidFill>
                  <a:latin typeface="Domaine Display Bold" panose="020A0803080505060203" pitchFamily="18" charset="0"/>
                  <a:ea typeface="Open Sans" panose="020B0606030504020204" pitchFamily="34" charset="0"/>
                  <a:cs typeface="Open Sans" panose="020B0606030504020204" pitchFamily="34" charset="0"/>
                </a:rPr>
                <a:t>10</a:t>
              </a: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3BD2E0A-AE5B-43BE-9544-E71D8984BEC1}"/>
                </a:ext>
              </a:extLst>
            </p:cNvPr>
            <p:cNvCxnSpPr/>
            <p:nvPr/>
          </p:nvCxnSpPr>
          <p:spPr>
            <a:xfrm>
              <a:off x="-974990" y="1265934"/>
              <a:ext cx="0" cy="4262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B4B603-A95F-4B87-A7C7-7ADC6BB2DA04}"/>
              </a:ext>
            </a:extLst>
          </p:cNvPr>
          <p:cNvCxnSpPr/>
          <p:nvPr/>
        </p:nvCxnSpPr>
        <p:spPr>
          <a:xfrm>
            <a:off x="441290" y="1057337"/>
            <a:ext cx="10786425" cy="0"/>
          </a:xfrm>
          <a:prstGeom prst="line">
            <a:avLst/>
          </a:prstGeom>
          <a:ln w="254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Tabelle 51">
            <a:extLst>
              <a:ext uri="{FF2B5EF4-FFF2-40B4-BE49-F238E27FC236}">
                <a16:creationId xmlns:a16="http://schemas.microsoft.com/office/drawing/2014/main" id="{30358BC5-508A-4C47-8F05-A8759F8D75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6974318"/>
              </p:ext>
            </p:extLst>
          </p:nvPr>
        </p:nvGraphicFramePr>
        <p:xfrm>
          <a:off x="212737" y="1750781"/>
          <a:ext cx="11829740" cy="4519782"/>
        </p:xfrm>
        <a:graphic>
          <a:graphicData uri="http://schemas.openxmlformats.org/drawingml/2006/table">
            <a:tbl>
              <a:tblPr firstRow="1" bandRow="1">
                <a:effectLst/>
                <a:tableStyleId>{F5AB1C69-6EDB-4FF4-983F-18BD219EF322}</a:tableStyleId>
              </a:tblPr>
              <a:tblGrid>
                <a:gridCol w="11468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1653522427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00178">
                  <a:extLst>
                    <a:ext uri="{9D8B030D-6E8A-4147-A177-3AD203B41FA5}">
                      <a16:colId xmlns:a16="http://schemas.microsoft.com/office/drawing/2014/main" val="1189405692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205975384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3152899115"/>
                    </a:ext>
                  </a:extLst>
                </a:gridCol>
                <a:gridCol w="764725">
                  <a:extLst>
                    <a:ext uri="{9D8B030D-6E8A-4147-A177-3AD203B41FA5}">
                      <a16:colId xmlns:a16="http://schemas.microsoft.com/office/drawing/2014/main" val="842809832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1671919692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1755283954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1019221437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val="1614280330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val="3857455003"/>
                    </a:ext>
                  </a:extLst>
                </a:gridCol>
                <a:gridCol w="988368">
                  <a:extLst>
                    <a:ext uri="{9D8B030D-6E8A-4147-A177-3AD203B41FA5}">
                      <a16:colId xmlns:a16="http://schemas.microsoft.com/office/drawing/2014/main" val="550949179"/>
                    </a:ext>
                  </a:extLst>
                </a:gridCol>
              </a:tblGrid>
              <a:tr h="840019"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Segment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Number of Predicted Veteran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Tenure</a:t>
                      </a:r>
                    </a:p>
                    <a:p>
                      <a:pPr algn="ctr"/>
                      <a:r>
                        <a:rPr lang="en-US" sz="8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(Months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Distinct </a:t>
                      </a:r>
                    </a:p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GPI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Age</a:t>
                      </a:r>
                    </a:p>
                    <a:p>
                      <a:pPr algn="ctr"/>
                      <a:r>
                        <a:rPr lang="en-US" sz="8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(Years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5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Disability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High Need Group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Primary Care Physician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Total</a:t>
                      </a:r>
                    </a:p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Medical Cost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Primary Care Visit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Call </a:t>
                      </a:r>
                    </a:p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Count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HEDIS Noncompliance Rates 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Breast Cancer Screening – Noncompliant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Colorectal Cancer Screening- Noncompliant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Statin Adherence - Noncompliant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3399"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High Utilizer, High Needs and High Member Interaction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19,138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22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5.07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73.9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2.3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 dirty="0"/>
                        <a:t>34.1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34.2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$4,033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2.55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4.85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32.55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43.75%</a:t>
                      </a:r>
                    </a:p>
                    <a:p>
                      <a:pPr algn="ctr"/>
                      <a:r>
                        <a:rPr lang="en-US" sz="1000" b="1" noProof="0" dirty="0"/>
                        <a:t>(32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57.51%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000" b="1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8,834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6.85%</a:t>
                      </a:r>
                    </a:p>
                    <a:p>
                      <a:pPr algn="ctr"/>
                      <a:r>
                        <a:rPr lang="en-US" sz="1000" b="1" noProof="0" dirty="0"/>
                        <a:t>(7,400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57686"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spcBef>
                          <a:spcPct val="20000"/>
                        </a:spcBef>
                      </a:pPr>
                      <a:r>
                        <a:rPr lang="en-GB" altLang="en-US" sz="900" b="1" kern="1200" dirty="0">
                          <a:solidFill>
                            <a:srgbClr val="C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Low Utilizer, High Noncompliance rates in HEDIS and No Member Interaction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5,966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30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1.01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74.0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1.7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6.8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24.1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$2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0.02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1.67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55.50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77.89%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0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(95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77.02%</a:t>
                      </a:r>
                    </a:p>
                    <a:p>
                      <a:pPr algn="ctr"/>
                      <a:r>
                        <a:rPr lang="en-US" sz="1000" b="1" noProof="0" dirty="0">
                          <a:solidFill>
                            <a:srgbClr val="C00000"/>
                          </a:solidFill>
                        </a:rPr>
                        <a:t>(2,781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5.16%</a:t>
                      </a:r>
                    </a:p>
                    <a:p>
                      <a:pPr algn="ctr"/>
                      <a:r>
                        <a:rPr lang="en-US" sz="1000" b="1" noProof="0" dirty="0">
                          <a:solidFill>
                            <a:srgbClr val="C00000"/>
                          </a:solidFill>
                        </a:rPr>
                        <a:t>(697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86829">
                <a:tc>
                  <a:txBody>
                    <a:bodyPr/>
                    <a:lstStyle/>
                    <a:p>
                      <a:pPr algn="ctr">
                        <a:spcBef>
                          <a:spcPct val="20000"/>
                        </a:spcBef>
                      </a:pPr>
                      <a:r>
                        <a:rPr lang="en-GB" altLang="en-US" sz="900" b="1" kern="1200" dirty="0">
                          <a:solidFill>
                            <a:schemeClr val="dk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edium Utilizer, Medium noncompliance rates, and Medium Member Interaction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3,745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34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2.52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74.5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1.1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 dirty="0"/>
                        <a:t>13.5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29.7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$148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0.61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2.60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42.38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37.5%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000" b="1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8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67.50%</a:t>
                      </a:r>
                    </a:p>
                    <a:p>
                      <a:pPr algn="ctr"/>
                      <a:r>
                        <a:rPr lang="en-US" sz="1000" b="1" noProof="0" dirty="0"/>
                        <a:t>(1,757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6.00%</a:t>
                      </a:r>
                    </a:p>
                    <a:p>
                      <a:pPr algn="ctr"/>
                      <a:r>
                        <a:rPr lang="en-US" sz="1000" b="1" noProof="0" dirty="0"/>
                        <a:t>(983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7398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D7D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8,849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91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4.0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0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.9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.6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$2,707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78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91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6.27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7.40%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0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135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2.88%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0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13,372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.63%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0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9,080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20" name="AutoShape 5">
            <a:extLst>
              <a:ext uri="{FF2B5EF4-FFF2-40B4-BE49-F238E27FC236}">
                <a16:creationId xmlns:a16="http://schemas.microsoft.com/office/drawing/2014/main" id="{01A86078-0652-41B9-9F92-F8AAF2D5E5C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82240" y="1067711"/>
            <a:ext cx="11760237" cy="672697"/>
          </a:xfrm>
          <a:prstGeom prst="homePlate">
            <a:avLst>
              <a:gd name="adj" fmla="val 21760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algn="ctr"/>
            <a:r>
              <a:rPr lang="en-US" altLang="de-DE" sz="1600" b="1" noProof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commendation: </a:t>
            </a:r>
          </a:p>
          <a:p>
            <a:pPr marL="180000" algn="ctr"/>
            <a:r>
              <a:rPr lang="en-US" altLang="de-DE" sz="1600" b="1" noProof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w Utilizer, High Noncompliance rates in HEDIS and No Member Interaction segment is the target group</a:t>
            </a:r>
          </a:p>
        </p:txBody>
      </p:sp>
    </p:spTree>
    <p:extLst>
      <p:ext uri="{BB962C8B-B14F-4D97-AF65-F5344CB8AC3E}">
        <p14:creationId xmlns:p14="http://schemas.microsoft.com/office/powerpoint/2010/main" val="27781071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D6EA33A-266E-42DA-9E06-486395A58F75}"/>
              </a:ext>
            </a:extLst>
          </p:cNvPr>
          <p:cNvSpPr txBox="1">
            <a:spLocks/>
          </p:cNvSpPr>
          <p:nvPr/>
        </p:nvSpPr>
        <p:spPr>
          <a:xfrm>
            <a:off x="1370012" y="262138"/>
            <a:ext cx="10121889" cy="73161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dirty="0">
                <a:solidFill>
                  <a:srgbClr val="CC0000"/>
                </a:solidFill>
              </a:rPr>
              <a:t>Socio-economic Profiling – New York</a:t>
            </a:r>
          </a:p>
          <a:p>
            <a:pPr lvl="0">
              <a:defRPr/>
            </a:pPr>
            <a:r>
              <a:rPr lang="en-US" sz="1600" i="1" dirty="0">
                <a:solidFill>
                  <a:srgbClr val="CC0000"/>
                </a:solidFill>
              </a:rPr>
              <a:t>Stratify the regions based on the socio-economic variables from the census data.</a:t>
            </a: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srgbClr val="CC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C365C7D-C769-460D-8B7F-B4BEED84B6D4}"/>
              </a:ext>
            </a:extLst>
          </p:cNvPr>
          <p:cNvGrpSpPr/>
          <p:nvPr/>
        </p:nvGrpSpPr>
        <p:grpSpPr>
          <a:xfrm>
            <a:off x="446540" y="285863"/>
            <a:ext cx="731756" cy="707886"/>
            <a:chOff x="-1706746" y="1081861"/>
            <a:chExt cx="731756" cy="70788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B7A8FE4-1952-458B-AD07-1986E2648FBA}"/>
                </a:ext>
              </a:extLst>
            </p:cNvPr>
            <p:cNvSpPr/>
            <p:nvPr/>
          </p:nvSpPr>
          <p:spPr>
            <a:xfrm>
              <a:off x="-1706746" y="1081861"/>
              <a:ext cx="598241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000" b="1" dirty="0">
                  <a:solidFill>
                    <a:srgbClr val="C00000"/>
                  </a:solidFill>
                  <a:latin typeface="Domaine Display Bold" panose="020A0803080505060203" pitchFamily="18" charset="0"/>
                  <a:ea typeface="Open Sans" panose="020B0606030504020204" pitchFamily="34" charset="0"/>
                  <a:cs typeface="Open Sans" panose="020B0606030504020204" pitchFamily="34" charset="0"/>
                </a:rPr>
                <a:t>11</a:t>
              </a: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3BD2E0A-AE5B-43BE-9544-E71D8984BEC1}"/>
                </a:ext>
              </a:extLst>
            </p:cNvPr>
            <p:cNvCxnSpPr/>
            <p:nvPr/>
          </p:nvCxnSpPr>
          <p:spPr>
            <a:xfrm>
              <a:off x="-974990" y="1265934"/>
              <a:ext cx="0" cy="4262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B4B603-A95F-4B87-A7C7-7ADC6BB2DA04}"/>
              </a:ext>
            </a:extLst>
          </p:cNvPr>
          <p:cNvCxnSpPr/>
          <p:nvPr/>
        </p:nvCxnSpPr>
        <p:spPr>
          <a:xfrm>
            <a:off x="441290" y="1057337"/>
            <a:ext cx="10786425" cy="0"/>
          </a:xfrm>
          <a:prstGeom prst="line">
            <a:avLst/>
          </a:prstGeom>
          <a:ln w="254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Tabelle 51">
            <a:extLst>
              <a:ext uri="{FF2B5EF4-FFF2-40B4-BE49-F238E27FC236}">
                <a16:creationId xmlns:a16="http://schemas.microsoft.com/office/drawing/2014/main" id="{30358BC5-508A-4C47-8F05-A8759F8D75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5661658"/>
              </p:ext>
            </p:extLst>
          </p:nvPr>
        </p:nvGraphicFramePr>
        <p:xfrm>
          <a:off x="400565" y="1826487"/>
          <a:ext cx="10951648" cy="4360773"/>
        </p:xfrm>
        <a:graphic>
          <a:graphicData uri="http://schemas.openxmlformats.org/drawingml/2006/table">
            <a:tbl>
              <a:tblPr firstRow="1" bandRow="1">
                <a:effectLst/>
                <a:tableStyleId>{F5AB1C69-6EDB-4FF4-983F-18BD219EF322}</a:tableStyleId>
              </a:tblPr>
              <a:tblGrid>
                <a:gridCol w="10338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454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2713">
                  <a:extLst>
                    <a:ext uri="{9D8B030D-6E8A-4147-A177-3AD203B41FA5}">
                      <a16:colId xmlns:a16="http://schemas.microsoft.com/office/drawing/2014/main" val="1653522427"/>
                    </a:ext>
                  </a:extLst>
                </a:gridCol>
                <a:gridCol w="8451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439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439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845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84592">
                  <a:extLst>
                    <a:ext uri="{9D8B030D-6E8A-4147-A177-3AD203B41FA5}">
                      <a16:colId xmlns:a16="http://schemas.microsoft.com/office/drawing/2014/main" val="1189405692"/>
                    </a:ext>
                  </a:extLst>
                </a:gridCol>
                <a:gridCol w="914264">
                  <a:extLst>
                    <a:ext uri="{9D8B030D-6E8A-4147-A177-3AD203B41FA5}">
                      <a16:colId xmlns:a16="http://schemas.microsoft.com/office/drawing/2014/main" val="205975384"/>
                    </a:ext>
                  </a:extLst>
                </a:gridCol>
                <a:gridCol w="1125248">
                  <a:extLst>
                    <a:ext uri="{9D8B030D-6E8A-4147-A177-3AD203B41FA5}">
                      <a16:colId xmlns:a16="http://schemas.microsoft.com/office/drawing/2014/main" val="28403804"/>
                    </a:ext>
                  </a:extLst>
                </a:gridCol>
                <a:gridCol w="843937">
                  <a:extLst>
                    <a:ext uri="{9D8B030D-6E8A-4147-A177-3AD203B41FA5}">
                      <a16:colId xmlns:a16="http://schemas.microsoft.com/office/drawing/2014/main" val="1671919692"/>
                    </a:ext>
                  </a:extLst>
                </a:gridCol>
                <a:gridCol w="843937">
                  <a:extLst>
                    <a:ext uri="{9D8B030D-6E8A-4147-A177-3AD203B41FA5}">
                      <a16:colId xmlns:a16="http://schemas.microsoft.com/office/drawing/2014/main" val="2058314021"/>
                    </a:ext>
                  </a:extLst>
                </a:gridCol>
              </a:tblGrid>
              <a:tr h="734458">
                <a:tc>
                  <a:txBody>
                    <a:bodyPr/>
                    <a:lstStyle/>
                    <a:p>
                      <a:pPr algn="ctr"/>
                      <a:r>
                        <a:rPr lang="en-US" sz="11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Segment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Number of  Zip Code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Disability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20-50K Earnings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&gt;50K Earnings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Higher Education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HH Food Stamps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HH Married Couple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HH Living Alone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Total Widowed / Divorced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Minority Race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Counts of VA Facilitie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8845"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High Education and Income, with Less Minority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07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.1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9.8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3.2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1.1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.6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1.5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1.7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3.4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.5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7725"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edium Education and Income with Less Minority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,207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.5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8.8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0.3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5.1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7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6.5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8.5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6.2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.8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1115"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solidFill>
                            <a:srgbClr val="C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Low Education and Income with More Minority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170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11.8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29.4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26.6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22.7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2.2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31.8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29.4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14.1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38.3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1115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D7D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,784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.2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6.1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6.4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2.2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7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.5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9.8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.9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6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20" name="AutoShape 5">
            <a:extLst>
              <a:ext uri="{FF2B5EF4-FFF2-40B4-BE49-F238E27FC236}">
                <a16:creationId xmlns:a16="http://schemas.microsoft.com/office/drawing/2014/main" id="{01A86078-0652-41B9-9F92-F8AAF2D5E5C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0565" y="1121916"/>
            <a:ext cx="11091336" cy="576404"/>
          </a:xfrm>
          <a:prstGeom prst="homePlate">
            <a:avLst>
              <a:gd name="adj" fmla="val 21760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algn="ctr"/>
            <a:r>
              <a:rPr lang="en-US" altLang="de-DE" sz="1600" b="1" noProof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commendation: </a:t>
            </a:r>
          </a:p>
          <a:p>
            <a:pPr marL="180000" algn="ctr"/>
            <a:r>
              <a:rPr lang="en-US" altLang="de-DE" sz="1600" b="1" noProof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w Education and Income with More Minority Ratio Segment is the target group</a:t>
            </a:r>
          </a:p>
        </p:txBody>
      </p:sp>
    </p:spTree>
    <p:extLst>
      <p:ext uri="{BB962C8B-B14F-4D97-AF65-F5344CB8AC3E}">
        <p14:creationId xmlns:p14="http://schemas.microsoft.com/office/powerpoint/2010/main" val="23612927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>
            <a:extLst>
              <a:ext uri="{FF2B5EF4-FFF2-40B4-BE49-F238E27FC236}">
                <a16:creationId xmlns:a16="http://schemas.microsoft.com/office/drawing/2014/main" id="{63C085A3-95FF-4CF1-BE23-FA8AB08F5E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315" y="1095437"/>
            <a:ext cx="11139522" cy="5233101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190500" marR="0" lvl="0" indent="-19050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969696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1">
              <a:ln>
                <a:noFill/>
              </a:ln>
              <a:solidFill>
                <a:sysClr val="window" lastClr="FFFFFF">
                  <a:lumMod val="50000"/>
                </a:sysClr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uLnTx/>
              <a:uFillTx/>
              <a:latin typeface="Open Sans Light"/>
              <a:ea typeface="+mn-ea"/>
              <a:cs typeface="Arial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D6EA33A-266E-42DA-9E06-486395A58F75}"/>
              </a:ext>
            </a:extLst>
          </p:cNvPr>
          <p:cNvSpPr txBox="1">
            <a:spLocks/>
          </p:cNvSpPr>
          <p:nvPr/>
        </p:nvSpPr>
        <p:spPr>
          <a:xfrm>
            <a:off x="1370012" y="262138"/>
            <a:ext cx="10121889" cy="73161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800" dirty="0">
                <a:solidFill>
                  <a:srgbClr val="CC0000"/>
                </a:solidFill>
              </a:rPr>
              <a:t>Predicted Veteran vs Socio-Economic Profiling – New York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C365C7D-C769-460D-8B7F-B4BEED84B6D4}"/>
              </a:ext>
            </a:extLst>
          </p:cNvPr>
          <p:cNvGrpSpPr/>
          <p:nvPr/>
        </p:nvGrpSpPr>
        <p:grpSpPr>
          <a:xfrm>
            <a:off x="446540" y="285863"/>
            <a:ext cx="731756" cy="707886"/>
            <a:chOff x="-1706746" y="1081861"/>
            <a:chExt cx="731756" cy="70788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B7A8FE4-1952-458B-AD07-1986E2648FBA}"/>
                </a:ext>
              </a:extLst>
            </p:cNvPr>
            <p:cNvSpPr/>
            <p:nvPr/>
          </p:nvSpPr>
          <p:spPr>
            <a:xfrm>
              <a:off x="-1706746" y="1081861"/>
              <a:ext cx="688009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000" b="1" dirty="0">
                  <a:solidFill>
                    <a:srgbClr val="C00000"/>
                  </a:solidFill>
                  <a:latin typeface="Domaine Display Bold" panose="020A0803080505060203" pitchFamily="18" charset="0"/>
                  <a:ea typeface="Open Sans" panose="020B0606030504020204" pitchFamily="34" charset="0"/>
                  <a:cs typeface="Open Sans" panose="020B0606030504020204" pitchFamily="34" charset="0"/>
                </a:rPr>
                <a:t>12</a:t>
              </a: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3BD2E0A-AE5B-43BE-9544-E71D8984BEC1}"/>
                </a:ext>
              </a:extLst>
            </p:cNvPr>
            <p:cNvCxnSpPr/>
            <p:nvPr/>
          </p:nvCxnSpPr>
          <p:spPr>
            <a:xfrm>
              <a:off x="-974990" y="1265934"/>
              <a:ext cx="0" cy="4262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B4B603-A95F-4B87-A7C7-7ADC6BB2DA04}"/>
              </a:ext>
            </a:extLst>
          </p:cNvPr>
          <p:cNvCxnSpPr/>
          <p:nvPr/>
        </p:nvCxnSpPr>
        <p:spPr>
          <a:xfrm>
            <a:off x="441290" y="1057337"/>
            <a:ext cx="10786425" cy="0"/>
          </a:xfrm>
          <a:prstGeom prst="line">
            <a:avLst/>
          </a:prstGeom>
          <a:ln w="254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Tabelle 51">
            <a:extLst>
              <a:ext uri="{FF2B5EF4-FFF2-40B4-BE49-F238E27FC236}">
                <a16:creationId xmlns:a16="http://schemas.microsoft.com/office/drawing/2014/main" id="{30358BC5-508A-4C47-8F05-A8759F8D75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6097250"/>
              </p:ext>
            </p:extLst>
          </p:nvPr>
        </p:nvGraphicFramePr>
        <p:xfrm>
          <a:off x="1190082" y="1723815"/>
          <a:ext cx="6123530" cy="4532315"/>
        </p:xfrm>
        <a:graphic>
          <a:graphicData uri="http://schemas.openxmlformats.org/drawingml/2006/table">
            <a:tbl>
              <a:tblPr firstRow="1" bandRow="1">
                <a:effectLst/>
                <a:tableStyleId>{F5AB1C69-6EDB-4FF4-983F-18BD219EF322}</a:tableStyleId>
              </a:tblPr>
              <a:tblGrid>
                <a:gridCol w="11201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08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1653522427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630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34458">
                <a:tc>
                  <a:txBody>
                    <a:bodyPr/>
                    <a:lstStyle/>
                    <a:p>
                      <a:pPr algn="ctr"/>
                      <a:r>
                        <a:rPr lang="en-US" sz="11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Segment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High Utilizer, High Needs and High Member Interaction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Low Utilizer, High Noncompliance rates in HEDIS and No Member Interaction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Medium Utilizer, Medium noncompliance rates, and Medium Member Interaction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Overall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8845"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High Education and Income, with Less Minority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,299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,254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,430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,983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7725"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edium Education and Income with Less Minority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,486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,522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,603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,611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1115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chemeClr val="dk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Low Education and Income with More Minority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,044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6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1,080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77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,701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1115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Overall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D7D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,829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,856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,610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8,295*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20" name="AutoShape 5">
            <a:extLst>
              <a:ext uri="{FF2B5EF4-FFF2-40B4-BE49-F238E27FC236}">
                <a16:creationId xmlns:a16="http://schemas.microsoft.com/office/drawing/2014/main" id="{01A86078-0652-41B9-9F92-F8AAF2D5E5C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36812" y="1280184"/>
            <a:ext cx="4038600" cy="357444"/>
          </a:xfrm>
          <a:prstGeom prst="homePlate">
            <a:avLst>
              <a:gd name="adj" fmla="val 21760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algn="ctr"/>
            <a:r>
              <a:rPr lang="en-US" altLang="de-DE" sz="1600" b="1" noProof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edicted Veteran Profile</a:t>
            </a:r>
          </a:p>
        </p:txBody>
      </p:sp>
      <p:sp>
        <p:nvSpPr>
          <p:cNvPr id="10" name="AutoShape 5">
            <a:extLst>
              <a:ext uri="{FF2B5EF4-FFF2-40B4-BE49-F238E27FC236}">
                <a16:creationId xmlns:a16="http://schemas.microsoft.com/office/drawing/2014/main" id="{3C612D7D-6B9A-460A-B8F9-7EBAC8DEFF89}"/>
              </a:ext>
            </a:extLst>
          </p:cNvPr>
          <p:cNvSpPr>
            <a:spLocks noChangeArrowheads="1"/>
          </p:cNvSpPr>
          <p:nvPr/>
        </p:nvSpPr>
        <p:spPr bwMode="gray">
          <a:xfrm rot="16200000">
            <a:off x="-713046" y="4022404"/>
            <a:ext cx="3057465" cy="499051"/>
          </a:xfrm>
          <a:prstGeom prst="homePlate">
            <a:avLst>
              <a:gd name="adj" fmla="val 21760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algn="ctr"/>
            <a:r>
              <a:rPr lang="en-US" altLang="de-DE" sz="1600" b="1" noProof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edicted Veteran Socio-economic Profil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D67496E6-3D42-4F43-ADE8-BCBD468CAFB9}"/>
              </a:ext>
            </a:extLst>
          </p:cNvPr>
          <p:cNvSpPr txBox="1">
            <a:spLocks/>
          </p:cNvSpPr>
          <p:nvPr/>
        </p:nvSpPr>
        <p:spPr>
          <a:xfrm>
            <a:off x="7546305" y="1685409"/>
            <a:ext cx="3826838" cy="4115253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ts val="1800"/>
              </a:spcBef>
              <a:buClrTx/>
              <a:buFont typeface="Arial"/>
              <a:buNone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457200" rtl="0" eaLnBrk="1" latinLnBrk="0" hangingPunct="1">
              <a:spcBef>
                <a:spcPts val="12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457200" rtl="0" eaLnBrk="1" latinLnBrk="0" hangingPunct="1">
              <a:spcBef>
                <a:spcPts val="600"/>
              </a:spcBef>
              <a:buClrTx/>
              <a:buFont typeface="Lucida Grande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8580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0287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206500" indent="-17780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3716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l Target Group: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rgbClr val="3F3F3F"/>
                </a:solidFill>
                <a:latin typeface="Arial"/>
              </a:rPr>
              <a:t>1,080 predicted veterans who have:</a:t>
            </a:r>
          </a:p>
          <a:p>
            <a:pPr marL="800100" lvl="3" indent="-285750"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3F3F3F"/>
                </a:solidFill>
                <a:latin typeface="Arial"/>
              </a:rPr>
              <a:t>low medical utilizations and costs</a:t>
            </a:r>
          </a:p>
          <a:p>
            <a:pPr marL="800100" lvl="3" indent="-285750">
              <a:buFont typeface="Wingdings" panose="05000000000000000000" pitchFamily="2" charset="2"/>
              <a:buChar char="Ø"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 </a:t>
            </a:r>
            <a:r>
              <a:rPr lang="en-US" dirty="0">
                <a:solidFill>
                  <a:srgbClr val="3F3F3F"/>
                </a:solidFill>
                <a:latin typeface="Arial"/>
              </a:rPr>
              <a:t>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-compliance rates</a:t>
            </a:r>
          </a:p>
          <a:p>
            <a:pPr marL="800100" lvl="3" indent="-285750">
              <a:buFont typeface="Wingdings" panose="05000000000000000000" pitchFamily="2" charset="2"/>
              <a:buChar char="Ø"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 member interactions including outbound calls and grievances</a:t>
            </a:r>
          </a:p>
          <a:p>
            <a:pPr marL="800100" lvl="3" indent="-285750"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3F3F3F"/>
                </a:solidFill>
                <a:latin typeface="Arial"/>
              </a:rPr>
              <a:t>low income</a:t>
            </a:r>
          </a:p>
          <a:p>
            <a:pPr marL="800100" lvl="3" indent="-285750"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3F3F3F"/>
                </a:solidFill>
                <a:latin typeface="Arial"/>
              </a:rPr>
              <a:t>l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w education</a:t>
            </a:r>
          </a:p>
          <a:p>
            <a:pPr marL="800100" lvl="3" indent="-285750"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3F3F3F"/>
                </a:solidFill>
                <a:latin typeface="Arial"/>
              </a:rPr>
              <a:t>high minority ratio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3F3F3F"/>
                </a:solidFill>
              </a:rPr>
              <a:t>1,080 predicted veterans live in 143 zip codes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3" indent="0">
              <a:buNone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800100" lvl="3" indent="-285750">
              <a:buFont typeface="Wingdings" panose="05000000000000000000" pitchFamily="2" charset="2"/>
              <a:buChar char="Ø"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647EB53-0DBC-4998-9013-D02AE38164D9}"/>
              </a:ext>
            </a:extLst>
          </p:cNvPr>
          <p:cNvSpPr txBox="1"/>
          <p:nvPr/>
        </p:nvSpPr>
        <p:spPr>
          <a:xfrm>
            <a:off x="7620863" y="5016279"/>
            <a:ext cx="3752280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	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re are 554 predicted veterans are not clustered into any socio-economic segment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tal clustered + total </a:t>
            </a:r>
            <a:r>
              <a:rPr lang="en-US" sz="1200" dirty="0">
                <a:solidFill>
                  <a:srgbClr val="3F3F3F"/>
                </a:solidFill>
                <a:latin typeface="Arial"/>
              </a:rPr>
              <a:t>non-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uster</a:t>
            </a:r>
            <a:r>
              <a:rPr lang="en-US" sz="1200" dirty="0">
                <a:solidFill>
                  <a:srgbClr val="3F3F3F"/>
                </a:solidFill>
                <a:latin typeface="Arial"/>
              </a:rPr>
              <a:t>ed = total member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28,295+554= 28,849</a:t>
            </a:r>
          </a:p>
        </p:txBody>
      </p:sp>
    </p:spTree>
    <p:extLst>
      <p:ext uri="{BB962C8B-B14F-4D97-AF65-F5344CB8AC3E}">
        <p14:creationId xmlns:p14="http://schemas.microsoft.com/office/powerpoint/2010/main" val="22708885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Rectangle 2">
            <a:extLst>
              <a:ext uri="{FF2B5EF4-FFF2-40B4-BE49-F238E27FC236}">
                <a16:creationId xmlns:a16="http://schemas.microsoft.com/office/drawing/2014/main" id="{C7D46A01-BB13-4C48-A677-58BD9C8742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742" y="1502027"/>
            <a:ext cx="11330543" cy="4810065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190500" marR="0" lvl="0" indent="-19050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969696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1">
              <a:ln>
                <a:noFill/>
              </a:ln>
              <a:solidFill>
                <a:sysClr val="window" lastClr="FFFFFF">
                  <a:lumMod val="50000"/>
                </a:sysClr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uLnTx/>
              <a:uFillTx/>
              <a:latin typeface="Open Sans Light"/>
              <a:ea typeface="+mn-ea"/>
              <a:cs typeface="Arial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D6EA33A-266E-42DA-9E06-486395A58F75}"/>
              </a:ext>
            </a:extLst>
          </p:cNvPr>
          <p:cNvSpPr txBox="1">
            <a:spLocks/>
          </p:cNvSpPr>
          <p:nvPr/>
        </p:nvSpPr>
        <p:spPr>
          <a:xfrm>
            <a:off x="1267809" y="257827"/>
            <a:ext cx="10121889" cy="73161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Clustering Predicted Veterans – </a:t>
            </a:r>
            <a:r>
              <a:rPr lang="en-US" sz="3200" dirty="0">
                <a:solidFill>
                  <a:srgbClr val="CC0000"/>
                </a:solidFill>
              </a:rPr>
              <a:t>Illinois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CC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Definition of High, Medium and Low Risk Member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C365C7D-C769-460D-8B7F-B4BEED84B6D4}"/>
              </a:ext>
            </a:extLst>
          </p:cNvPr>
          <p:cNvGrpSpPr/>
          <p:nvPr/>
        </p:nvGrpSpPr>
        <p:grpSpPr>
          <a:xfrm>
            <a:off x="446540" y="285863"/>
            <a:ext cx="686406" cy="707886"/>
            <a:chOff x="-1706746" y="1081861"/>
            <a:chExt cx="686406" cy="70788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B7A8FE4-1952-458B-AD07-1986E2648FBA}"/>
                </a:ext>
              </a:extLst>
            </p:cNvPr>
            <p:cNvSpPr/>
            <p:nvPr/>
          </p:nvSpPr>
          <p:spPr>
            <a:xfrm>
              <a:off x="-1706746" y="1081861"/>
              <a:ext cx="686406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000" b="1" dirty="0">
                  <a:solidFill>
                    <a:srgbClr val="C00000"/>
                  </a:solidFill>
                  <a:latin typeface="Domaine Display Bold" panose="020A0803080505060203" pitchFamily="18" charset="0"/>
                  <a:ea typeface="Open Sans" panose="020B0606030504020204" pitchFamily="34" charset="0"/>
                  <a:cs typeface="Open Sans" panose="020B0606030504020204" pitchFamily="34" charset="0"/>
                </a:rPr>
                <a:t>13</a:t>
              </a:r>
              <a:endPara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Domaine Display Bold" panose="020A0803080505060203" pitchFamily="18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3BD2E0A-AE5B-43BE-9544-E71D8984BEC1}"/>
                </a:ext>
              </a:extLst>
            </p:cNvPr>
            <p:cNvCxnSpPr/>
            <p:nvPr/>
          </p:nvCxnSpPr>
          <p:spPr>
            <a:xfrm>
              <a:off x="-1197429" y="1217529"/>
              <a:ext cx="0" cy="4262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B4B603-A95F-4B87-A7C7-7ADC6BB2DA04}"/>
              </a:ext>
            </a:extLst>
          </p:cNvPr>
          <p:cNvCxnSpPr/>
          <p:nvPr/>
        </p:nvCxnSpPr>
        <p:spPr>
          <a:xfrm>
            <a:off x="532596" y="1036439"/>
            <a:ext cx="10786425" cy="0"/>
          </a:xfrm>
          <a:prstGeom prst="line">
            <a:avLst/>
          </a:prstGeom>
          <a:ln w="254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ieren 18">
            <a:extLst>
              <a:ext uri="{FF2B5EF4-FFF2-40B4-BE49-F238E27FC236}">
                <a16:creationId xmlns:a16="http://schemas.microsoft.com/office/drawing/2014/main" id="{C1272079-1188-4C26-82BD-BD84F1150D72}"/>
              </a:ext>
            </a:extLst>
          </p:cNvPr>
          <p:cNvGrpSpPr/>
          <p:nvPr/>
        </p:nvGrpSpPr>
        <p:grpSpPr>
          <a:xfrm>
            <a:off x="958646" y="1502027"/>
            <a:ext cx="10818552" cy="4751358"/>
            <a:chOff x="1399559" y="2071572"/>
            <a:chExt cx="9337496" cy="3715214"/>
          </a:xfrm>
        </p:grpSpPr>
        <p:grpSp>
          <p:nvGrpSpPr>
            <p:cNvPr id="19" name="Gruppieren 15">
              <a:extLst>
                <a:ext uri="{FF2B5EF4-FFF2-40B4-BE49-F238E27FC236}">
                  <a16:creationId xmlns:a16="http://schemas.microsoft.com/office/drawing/2014/main" id="{E3893893-251A-4A76-99FF-FE885450C8C9}"/>
                </a:ext>
              </a:extLst>
            </p:cNvPr>
            <p:cNvGrpSpPr/>
            <p:nvPr/>
          </p:nvGrpSpPr>
          <p:grpSpPr>
            <a:xfrm>
              <a:off x="1410926" y="2122095"/>
              <a:ext cx="6476733" cy="3127233"/>
              <a:chOff x="1410926" y="2122095"/>
              <a:chExt cx="6476733" cy="3127233"/>
            </a:xfrm>
          </p:grpSpPr>
          <p:sp>
            <p:nvSpPr>
              <p:cNvPr id="34" name="Freeform 4">
                <a:extLst>
                  <a:ext uri="{FF2B5EF4-FFF2-40B4-BE49-F238E27FC236}">
                    <a16:creationId xmlns:a16="http://schemas.microsoft.com/office/drawing/2014/main" id="{94EFDC02-532A-42D0-BE05-998CB715955F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4506124" y="2333954"/>
                <a:ext cx="3056756" cy="2791602"/>
              </a:xfrm>
              <a:custGeom>
                <a:avLst/>
                <a:gdLst>
                  <a:gd name="T0" fmla="*/ 672 w 672"/>
                  <a:gd name="T1" fmla="*/ 333 h 665"/>
                  <a:gd name="T2" fmla="*/ 166 w 672"/>
                  <a:gd name="T3" fmla="*/ 0 h 665"/>
                  <a:gd name="T4" fmla="*/ 1 w 672"/>
                  <a:gd name="T5" fmla="*/ 333 h 665"/>
                  <a:gd name="T6" fmla="*/ 162 w 672"/>
                  <a:gd name="T7" fmla="*/ 665 h 665"/>
                  <a:gd name="T8" fmla="*/ 672 w 672"/>
                  <a:gd name="T9" fmla="*/ 333 h 665"/>
                  <a:gd name="connsiteX0" fmla="*/ 9986 w 9986"/>
                  <a:gd name="connsiteY0" fmla="*/ 4405 h 9397"/>
                  <a:gd name="connsiteX1" fmla="*/ 1709 w 9986"/>
                  <a:gd name="connsiteY1" fmla="*/ 26 h 9397"/>
                  <a:gd name="connsiteX2" fmla="*/ 1 w 9986"/>
                  <a:gd name="connsiteY2" fmla="*/ 4405 h 9397"/>
                  <a:gd name="connsiteX3" fmla="*/ 2397 w 9986"/>
                  <a:gd name="connsiteY3" fmla="*/ 9397 h 9397"/>
                  <a:gd name="connsiteX4" fmla="*/ 9986 w 9986"/>
                  <a:gd name="connsiteY4" fmla="*/ 4405 h 9397"/>
                  <a:gd name="connsiteX0" fmla="*/ 10000 w 10000"/>
                  <a:gd name="connsiteY0" fmla="*/ 4660 h 9972"/>
                  <a:gd name="connsiteX1" fmla="*/ 1711 w 10000"/>
                  <a:gd name="connsiteY1" fmla="*/ 0 h 9972"/>
                  <a:gd name="connsiteX2" fmla="*/ 1 w 10000"/>
                  <a:gd name="connsiteY2" fmla="*/ 4660 h 9972"/>
                  <a:gd name="connsiteX3" fmla="*/ 2400 w 10000"/>
                  <a:gd name="connsiteY3" fmla="*/ 9972 h 9972"/>
                  <a:gd name="connsiteX4" fmla="*/ 10000 w 10000"/>
                  <a:gd name="connsiteY4" fmla="*/ 4660 h 9972"/>
                  <a:gd name="connsiteX0" fmla="*/ 10000 w 10000"/>
                  <a:gd name="connsiteY0" fmla="*/ 4673 h 9597"/>
                  <a:gd name="connsiteX1" fmla="*/ 1711 w 10000"/>
                  <a:gd name="connsiteY1" fmla="*/ 0 h 9597"/>
                  <a:gd name="connsiteX2" fmla="*/ 1 w 10000"/>
                  <a:gd name="connsiteY2" fmla="*/ 4673 h 9597"/>
                  <a:gd name="connsiteX3" fmla="*/ 1964 w 10000"/>
                  <a:gd name="connsiteY3" fmla="*/ 9597 h 9597"/>
                  <a:gd name="connsiteX4" fmla="*/ 10000 w 10000"/>
                  <a:gd name="connsiteY4" fmla="*/ 4673 h 9597"/>
                  <a:gd name="connsiteX0" fmla="*/ 10000 w 10000"/>
                  <a:gd name="connsiteY0" fmla="*/ 4869 h 10000"/>
                  <a:gd name="connsiteX1" fmla="*/ 1711 w 10000"/>
                  <a:gd name="connsiteY1" fmla="*/ 0 h 10000"/>
                  <a:gd name="connsiteX2" fmla="*/ 1 w 10000"/>
                  <a:gd name="connsiteY2" fmla="*/ 4869 h 10000"/>
                  <a:gd name="connsiteX3" fmla="*/ 1964 w 10000"/>
                  <a:gd name="connsiteY3" fmla="*/ 10000 h 10000"/>
                  <a:gd name="connsiteX4" fmla="*/ 10000 w 10000"/>
                  <a:gd name="connsiteY4" fmla="*/ 4869 h 10000"/>
                  <a:gd name="connsiteX0" fmla="*/ 10000 w 10000"/>
                  <a:gd name="connsiteY0" fmla="*/ 4869 h 10000"/>
                  <a:gd name="connsiteX1" fmla="*/ 1711 w 10000"/>
                  <a:gd name="connsiteY1" fmla="*/ 0 h 10000"/>
                  <a:gd name="connsiteX2" fmla="*/ 1 w 10000"/>
                  <a:gd name="connsiteY2" fmla="*/ 4869 h 10000"/>
                  <a:gd name="connsiteX3" fmla="*/ 1964 w 10000"/>
                  <a:gd name="connsiteY3" fmla="*/ 10000 h 10000"/>
                  <a:gd name="connsiteX4" fmla="*/ 10000 w 10000"/>
                  <a:gd name="connsiteY4" fmla="*/ 486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00" h="10000">
                    <a:moveTo>
                      <a:pt x="10000" y="4869"/>
                    </a:moveTo>
                    <a:lnTo>
                      <a:pt x="1711" y="0"/>
                    </a:lnTo>
                    <a:cubicBezTo>
                      <a:pt x="177" y="1305"/>
                      <a:pt x="16" y="2645"/>
                      <a:pt x="1" y="4869"/>
                    </a:cubicBezTo>
                    <a:cubicBezTo>
                      <a:pt x="-14" y="6908"/>
                      <a:pt x="575" y="8460"/>
                      <a:pt x="1964" y="10000"/>
                    </a:cubicBezTo>
                    <a:cubicBezTo>
                      <a:pt x="4643" y="8220"/>
                      <a:pt x="7321" y="6579"/>
                      <a:pt x="10000" y="4869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AEAEAE">
                      <a:gamma/>
                      <a:tint val="0"/>
                      <a:invGamma/>
                      <a:alpha val="0"/>
                    </a:srgbClr>
                  </a:gs>
                  <a:gs pos="100000">
                    <a:srgbClr val="C0C0C0">
                      <a:lumMod val="74000"/>
                      <a:lumOff val="26000"/>
                    </a:srgbClr>
                  </a:gs>
                </a:gsLst>
                <a:lin ang="0" scaled="1"/>
              </a:gradFill>
              <a:ln w="19050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12315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Line 73">
                <a:extLst>
                  <a:ext uri="{FF2B5EF4-FFF2-40B4-BE49-F238E27FC236}">
                    <a16:creationId xmlns:a16="http://schemas.microsoft.com/office/drawing/2014/main" id="{8D276B08-5B70-4BAB-A9A1-2E91E11170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21205598" flipV="1">
                <a:off x="5605817" y="2944415"/>
                <a:ext cx="1245182" cy="481716"/>
              </a:xfrm>
              <a:prstGeom prst="line">
                <a:avLst/>
              </a:prstGeom>
              <a:noFill/>
              <a:ln w="19050">
                <a:solidFill>
                  <a:schemeClr val="accent1"/>
                </a:solidFill>
                <a:prstDash val="sysDot"/>
                <a:round/>
                <a:headEnd/>
                <a:tailEnd type="triangle" w="lg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12315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Line 74">
                <a:extLst>
                  <a:ext uri="{FF2B5EF4-FFF2-40B4-BE49-F238E27FC236}">
                    <a16:creationId xmlns:a16="http://schemas.microsoft.com/office/drawing/2014/main" id="{9D2B86C8-7024-43D5-95D8-1C587CE6FC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67050">
                <a:off x="5579460" y="4043452"/>
                <a:ext cx="1214692" cy="462022"/>
              </a:xfrm>
              <a:prstGeom prst="line">
                <a:avLst/>
              </a:prstGeom>
              <a:noFill/>
              <a:ln w="19050">
                <a:solidFill>
                  <a:schemeClr val="accent1"/>
                </a:solidFill>
                <a:prstDash val="sysDot"/>
                <a:round/>
                <a:headEnd/>
                <a:tailEnd type="triangle" w="lg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12315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Line 75">
                <a:extLst>
                  <a:ext uri="{FF2B5EF4-FFF2-40B4-BE49-F238E27FC236}">
                    <a16:creationId xmlns:a16="http://schemas.microsoft.com/office/drawing/2014/main" id="{BD72C753-1C03-4F14-B680-ADC1EF9379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232545" flipV="1">
                <a:off x="5654201" y="3538430"/>
                <a:ext cx="1198684" cy="443911"/>
              </a:xfrm>
              <a:prstGeom prst="line">
                <a:avLst/>
              </a:prstGeom>
              <a:noFill/>
              <a:ln w="19050">
                <a:solidFill>
                  <a:schemeClr val="accent1"/>
                </a:solidFill>
                <a:prstDash val="sysDot"/>
                <a:round/>
                <a:headEnd/>
                <a:tailEnd type="triangle" w="lg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12315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Freeform 4">
                <a:extLst>
                  <a:ext uri="{FF2B5EF4-FFF2-40B4-BE49-F238E27FC236}">
                    <a16:creationId xmlns:a16="http://schemas.microsoft.com/office/drawing/2014/main" id="{7C5117F3-1CC7-4DF7-97A6-53DA9A4209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8166" y="2219538"/>
                <a:ext cx="3061041" cy="3029790"/>
              </a:xfrm>
              <a:custGeom>
                <a:avLst/>
                <a:gdLst>
                  <a:gd name="T0" fmla="*/ 672 w 672"/>
                  <a:gd name="T1" fmla="*/ 333 h 665"/>
                  <a:gd name="T2" fmla="*/ 166 w 672"/>
                  <a:gd name="T3" fmla="*/ 0 h 665"/>
                  <a:gd name="T4" fmla="*/ 1 w 672"/>
                  <a:gd name="T5" fmla="*/ 333 h 665"/>
                  <a:gd name="T6" fmla="*/ 162 w 672"/>
                  <a:gd name="T7" fmla="*/ 665 h 665"/>
                  <a:gd name="T8" fmla="*/ 672 w 672"/>
                  <a:gd name="T9" fmla="*/ 333 h 6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2" h="665">
                    <a:moveTo>
                      <a:pt x="672" y="333"/>
                    </a:moveTo>
                    <a:cubicBezTo>
                      <a:pt x="166" y="0"/>
                      <a:pt x="166" y="0"/>
                      <a:pt x="166" y="0"/>
                    </a:cubicBezTo>
                    <a:cubicBezTo>
                      <a:pt x="63" y="78"/>
                      <a:pt x="2" y="200"/>
                      <a:pt x="1" y="333"/>
                    </a:cubicBezTo>
                    <a:cubicBezTo>
                      <a:pt x="0" y="455"/>
                      <a:pt x="50" y="575"/>
                      <a:pt x="162" y="665"/>
                    </a:cubicBezTo>
                    <a:lnTo>
                      <a:pt x="672" y="33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AEAEAE">
                      <a:gamma/>
                      <a:tint val="0"/>
                      <a:invGamma/>
                      <a:alpha val="0"/>
                    </a:srgbClr>
                  </a:gs>
                  <a:gs pos="100000">
                    <a:srgbClr val="C0C0C0">
                      <a:lumMod val="74000"/>
                      <a:lumOff val="26000"/>
                    </a:srgbClr>
                  </a:gs>
                </a:gsLst>
                <a:lin ang="0" scaled="1"/>
              </a:gradFill>
              <a:ln w="19050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12315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Oval 29">
                <a:extLst>
                  <a:ext uri="{FF2B5EF4-FFF2-40B4-BE49-F238E27FC236}">
                    <a16:creationId xmlns:a16="http://schemas.microsoft.com/office/drawing/2014/main" id="{AB58BD70-3CB5-4A3E-A4E0-EFD7B30C6CF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6810194" y="4264812"/>
                <a:ext cx="900000" cy="900000"/>
              </a:xfrm>
              <a:prstGeom prst="ellipse">
                <a:avLst/>
              </a:prstGeom>
              <a:gradFill flip="none" rotWithShape="1">
                <a:gsLst>
                  <a:gs pos="0">
                    <a:srgbClr val="E6E6E6">
                      <a:lumMod val="51000"/>
                      <a:lumOff val="49000"/>
                    </a:srgbClr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round/>
                <a:headEnd/>
                <a:tailEnd/>
              </a:ln>
              <a:effectLst/>
            </p:spPr>
            <p:txBody>
              <a:bodyPr lIns="72000" rIns="72000" rtlCol="0" anchor="ctr"/>
              <a:lstStyle/>
              <a:p>
                <a:pPr marL="0" marR="0" lvl="0" indent="0" algn="ctr" defTabSz="112315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200" b="0" i="0" u="none" strike="noStrike" kern="120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Oval 29">
                <a:extLst>
                  <a:ext uri="{FF2B5EF4-FFF2-40B4-BE49-F238E27FC236}">
                    <a16:creationId xmlns:a16="http://schemas.microsoft.com/office/drawing/2014/main" id="{EB558F31-5D59-4513-B327-5593AC1938E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410926" y="3238192"/>
                <a:ext cx="1181210" cy="1181210"/>
              </a:xfrm>
              <a:prstGeom prst="ellipse">
                <a:avLst/>
              </a:prstGeom>
              <a:gradFill flip="none" rotWithShape="1">
                <a:gsLst>
                  <a:gs pos="0">
                    <a:srgbClr val="E6E6E6">
                      <a:lumMod val="51000"/>
                      <a:lumOff val="49000"/>
                    </a:srgbClr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round/>
                <a:headEnd/>
                <a:tailEnd/>
              </a:ln>
              <a:effectLst/>
            </p:spPr>
            <p:txBody>
              <a:bodyPr lIns="72000" rIns="72000" rtlCol="0" anchor="ctr"/>
              <a:lstStyle/>
              <a:p>
                <a:pPr marL="0" marR="0" lvl="0" indent="0" algn="ctr" defTabSz="112315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200" b="0" i="0" u="none" strike="noStrike" kern="120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Oval 29">
                <a:extLst>
                  <a:ext uri="{FF2B5EF4-FFF2-40B4-BE49-F238E27FC236}">
                    <a16:creationId xmlns:a16="http://schemas.microsoft.com/office/drawing/2014/main" id="{255B06E9-676F-46A3-A141-37E23CC1B95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6810194" y="2122095"/>
                <a:ext cx="900000" cy="900000"/>
              </a:xfrm>
              <a:prstGeom prst="ellipse">
                <a:avLst/>
              </a:prstGeom>
              <a:gradFill flip="none" rotWithShape="1">
                <a:gsLst>
                  <a:gs pos="0">
                    <a:srgbClr val="E6E6E6">
                      <a:lumMod val="51000"/>
                      <a:lumOff val="49000"/>
                    </a:srgbClr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round/>
                <a:headEnd/>
                <a:tailEnd/>
              </a:ln>
              <a:effectLst/>
            </p:spPr>
            <p:txBody>
              <a:bodyPr lIns="72000" rIns="72000" rtlCol="0" anchor="ctr"/>
              <a:lstStyle/>
              <a:p>
                <a:pPr marL="0" marR="0" lvl="0" indent="0" algn="ctr" defTabSz="112315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200" b="0" i="0" u="none" strike="noStrike" kern="120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0" marR="0" lvl="0" indent="0" algn="ctr" defTabSz="112315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200" b="0" i="0" u="none" strike="noStrike" kern="120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Oval 29">
                <a:extLst>
                  <a:ext uri="{FF2B5EF4-FFF2-40B4-BE49-F238E27FC236}">
                    <a16:creationId xmlns:a16="http://schemas.microsoft.com/office/drawing/2014/main" id="{49073132-CA04-49AC-BC5A-D859EAE7EE6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6987659" y="3238210"/>
                <a:ext cx="900000" cy="900000"/>
              </a:xfrm>
              <a:prstGeom prst="ellipse">
                <a:avLst/>
              </a:prstGeom>
              <a:gradFill flip="none" rotWithShape="1">
                <a:gsLst>
                  <a:gs pos="0">
                    <a:srgbClr val="E6E6E6">
                      <a:lumMod val="51000"/>
                      <a:lumOff val="49000"/>
                    </a:srgbClr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round/>
                <a:headEnd/>
                <a:tailEnd/>
              </a:ln>
              <a:effectLst/>
            </p:spPr>
            <p:txBody>
              <a:bodyPr lIns="72000" rIns="72000" rtlCol="0" anchor="ctr"/>
              <a:lstStyle/>
              <a:p>
                <a:pPr marL="0" marR="0" lvl="0" indent="0" algn="ctr" defTabSz="112315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200" b="0" i="0" u="none" strike="noStrike" kern="120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Line 75">
                <a:extLst>
                  <a:ext uri="{FF2B5EF4-FFF2-40B4-BE49-F238E27FC236}">
                    <a16:creationId xmlns:a16="http://schemas.microsoft.com/office/drawing/2014/main" id="{E13C0424-B770-4C0D-BE35-8896F9DB45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232545" flipV="1">
                <a:off x="2696054" y="3585360"/>
                <a:ext cx="798392" cy="305818"/>
              </a:xfrm>
              <a:prstGeom prst="line">
                <a:avLst/>
              </a:prstGeom>
              <a:noFill/>
              <a:ln w="19050">
                <a:solidFill>
                  <a:schemeClr val="accent1"/>
                </a:solidFill>
                <a:prstDash val="sysDot"/>
                <a:round/>
                <a:headEnd/>
                <a:tailEnd type="triangle" w="lg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12315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Oval 5">
                <a:extLst>
                  <a:ext uri="{FF2B5EF4-FFF2-40B4-BE49-F238E27FC236}">
                    <a16:creationId xmlns:a16="http://schemas.microsoft.com/office/drawing/2014/main" id="{BD9A24F3-935C-4D50-9DD2-13B96001D8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1686" y="2749154"/>
                <a:ext cx="1970558" cy="1970558"/>
              </a:xfrm>
              <a:prstGeom prst="ellipse">
                <a:avLst/>
              </a:prstGeom>
              <a:gradFill flip="none" rotWithShape="1">
                <a:gsLst>
                  <a:gs pos="0">
                    <a:srgbClr val="E6E6E6">
                      <a:lumMod val="51000"/>
                      <a:lumOff val="49000"/>
                    </a:srgbClr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round/>
                <a:headEnd/>
                <a:tailEnd/>
              </a:ln>
              <a:effectLst/>
            </p:spPr>
            <p:txBody>
              <a:bodyPr lIns="72000" rIns="72000" rtlCol="0" anchor="ctr"/>
              <a:lstStyle/>
              <a:p>
                <a:pPr marL="0" marR="0" lvl="0" indent="0" algn="ctr" defTabSz="112315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8" name="Rectangle 114">
              <a:extLst>
                <a:ext uri="{FF2B5EF4-FFF2-40B4-BE49-F238E27FC236}">
                  <a16:creationId xmlns:a16="http://schemas.microsoft.com/office/drawing/2014/main" id="{484D673A-DFCF-4EE4-B273-8E04FCA0E6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89342" y="2071572"/>
              <a:ext cx="2982643" cy="1208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l" defTabSz="1123158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gh Utilizer, High Needs and High Member Interactions:</a:t>
              </a:r>
            </a:p>
            <a:p>
              <a:pPr marL="171450" marR="0" lvl="0" indent="-171450" algn="l" defTabSz="1123158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arge population (N=</a:t>
              </a:r>
              <a:r>
                <a:rPr lang="en-GB" altLang="en-US" sz="110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</a:t>
              </a: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556) with </a:t>
              </a:r>
              <a:r>
                <a:rPr kumimoji="0" lang="en-GB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gh medical costs and utilization</a:t>
              </a: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</a:t>
              </a:r>
              <a:r>
                <a:rPr kumimoji="0" lang="en-GB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gh distinct GPI</a:t>
              </a: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medium noncompliance rates in HEDIS and Patient Safety measures, </a:t>
              </a:r>
              <a:r>
                <a:rPr kumimoji="0" lang="en-GB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gh portion of HNG </a:t>
              </a: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nd </a:t>
              </a:r>
              <a:r>
                <a:rPr kumimoji="0" lang="en-GB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gh member interaction</a:t>
              </a: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  </a:t>
              </a:r>
            </a:p>
            <a:p>
              <a:pPr marL="171450" marR="0" lvl="0" indent="-171450" algn="l" defTabSz="1123158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1.9 months of tenure and 73.9 years of age</a:t>
              </a:r>
            </a:p>
          </p:txBody>
        </p:sp>
        <p:sp>
          <p:nvSpPr>
            <p:cNvPr id="29" name="Rectangle 115">
              <a:extLst>
                <a:ext uri="{FF2B5EF4-FFF2-40B4-BE49-F238E27FC236}">
                  <a16:creationId xmlns:a16="http://schemas.microsoft.com/office/drawing/2014/main" id="{C8069016-B081-4EA8-8EA7-1AA64D349C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34079" y="4446317"/>
              <a:ext cx="2902976" cy="13404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l" defTabSz="1123158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edium Utilizer, Medium noncompliance rates, and Medium Member Interactions:</a:t>
              </a:r>
            </a:p>
            <a:p>
              <a:pPr marL="171450" marR="0" lvl="0" indent="-171450" algn="l" defTabSz="1123158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mall population(N=</a:t>
              </a:r>
              <a:r>
                <a:rPr lang="en-GB" altLang="en-US" sz="110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4,248</a:t>
              </a: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) with</a:t>
              </a:r>
              <a:r>
                <a:rPr kumimoji="0" lang="en-GB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medium medical costs and utilization</a:t>
              </a: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</a:t>
              </a: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edium distinct GPI, </a:t>
              </a:r>
              <a:r>
                <a:rPr kumimoji="0" lang="en-GB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edium compliance rates in HEDIS and Patient Safety measures</a:t>
              </a: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</a:t>
              </a:r>
              <a:r>
                <a:rPr kumimoji="0" lang="en-GB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edium portion of HNG</a:t>
              </a: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and </a:t>
              </a:r>
              <a:r>
                <a:rPr kumimoji="0" lang="en-GB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edium member interaction</a:t>
              </a: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  </a:t>
              </a:r>
            </a:p>
            <a:p>
              <a:pPr marL="171450" marR="0" lvl="0" indent="-171450" algn="l" defTabSz="1123158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33.8 months of tenure and 74.5 years of age</a:t>
              </a:r>
              <a:endParaRPr kumimoji="0" lang="en-GB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0" name="Rectangle 116">
              <a:extLst>
                <a:ext uri="{FF2B5EF4-FFF2-40B4-BE49-F238E27FC236}">
                  <a16:creationId xmlns:a16="http://schemas.microsoft.com/office/drawing/2014/main" id="{0A89387C-BD4C-475F-92D3-3EE428F204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56490" y="3226019"/>
              <a:ext cx="2890048" cy="1208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l" defTabSz="1123158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ow Utilizer, High Noncompliance rates in HEDIS and No Member Interactions:</a:t>
              </a:r>
            </a:p>
            <a:p>
              <a:pPr marL="171450" marR="0" lvl="0" indent="-171450" algn="l" defTabSz="1123158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edium population (N=</a:t>
              </a:r>
              <a:r>
                <a:rPr lang="en-GB" altLang="en-US" sz="110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4,959</a:t>
              </a: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) with </a:t>
              </a:r>
              <a:r>
                <a:rPr kumimoji="0" lang="en-GB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ow medical costs and utilization</a:t>
              </a: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</a:t>
              </a: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ow distinct GPI, </a:t>
              </a:r>
              <a:r>
                <a:rPr kumimoji="0" lang="en-GB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gh noncompliance rates in HEDIS and Patient Safety measures</a:t>
              </a: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</a:t>
              </a:r>
              <a:r>
                <a:rPr kumimoji="0" lang="en-GB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ow portion of HNG</a:t>
              </a: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and </a:t>
              </a:r>
              <a:r>
                <a:rPr kumimoji="0" lang="en-GB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ow member interaction</a:t>
              </a: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  </a:t>
              </a:r>
            </a:p>
            <a:p>
              <a:pPr marL="171450" marR="0" lvl="0" indent="-171450" algn="l" defTabSz="1123158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30.1 months of tenure and 74.0 years of age</a:t>
              </a:r>
            </a:p>
          </p:txBody>
        </p:sp>
        <p:sp>
          <p:nvSpPr>
            <p:cNvPr id="31" name="Rectangle 40">
              <a:extLst>
                <a:ext uri="{FF2B5EF4-FFF2-40B4-BE49-F238E27FC236}">
                  <a16:creationId xmlns:a16="http://schemas.microsoft.com/office/drawing/2014/main" id="{42A6D743-FDCF-4737-8172-406030E1DA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0714" y="2145792"/>
              <a:ext cx="1512500" cy="3690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ctr" defTabSz="1123158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lustering</a:t>
              </a:r>
            </a:p>
          </p:txBody>
        </p:sp>
        <p:sp>
          <p:nvSpPr>
            <p:cNvPr id="33" name="Rectangle 115">
              <a:extLst>
                <a:ext uri="{FF2B5EF4-FFF2-40B4-BE49-F238E27FC236}">
                  <a16:creationId xmlns:a16="http://schemas.microsoft.com/office/drawing/2014/main" id="{6C177046-43BD-4A06-8CC3-9E69191F52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9559" y="4456091"/>
              <a:ext cx="1176297" cy="7267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ctr" defTabSz="1123158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edicted</a:t>
              </a:r>
            </a:p>
            <a:p>
              <a:pPr marL="0" marR="0" lvl="0" indent="0" algn="ctr" defTabSz="1123158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Veterans</a:t>
              </a:r>
            </a:p>
            <a:p>
              <a:pPr marL="0" marR="0" lvl="0" indent="0" algn="ctr" defTabSz="1123158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(N=30,095*)</a:t>
              </a:r>
            </a:p>
          </p:txBody>
        </p:sp>
      </p:grpSp>
      <p:pic>
        <p:nvPicPr>
          <p:cNvPr id="72" name="Graphic 71" descr="Users">
            <a:extLst>
              <a:ext uri="{FF2B5EF4-FFF2-40B4-BE49-F238E27FC236}">
                <a16:creationId xmlns:a16="http://schemas.microsoft.com/office/drawing/2014/main" id="{B247DB40-9A4A-484E-B451-3B8DBAF3C3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1357" y="3083122"/>
            <a:ext cx="1294840" cy="1294840"/>
          </a:xfrm>
          <a:prstGeom prst="rect">
            <a:avLst/>
          </a:prstGeom>
        </p:spPr>
      </p:pic>
      <p:grpSp>
        <p:nvGrpSpPr>
          <p:cNvPr id="73" name="Gruppieren 284">
            <a:extLst>
              <a:ext uri="{FF2B5EF4-FFF2-40B4-BE49-F238E27FC236}">
                <a16:creationId xmlns:a16="http://schemas.microsoft.com/office/drawing/2014/main" id="{988D4090-3F44-47C6-B5FE-576611A36CC5}"/>
              </a:ext>
            </a:extLst>
          </p:cNvPr>
          <p:cNvGrpSpPr/>
          <p:nvPr/>
        </p:nvGrpSpPr>
        <p:grpSpPr bwMode="gray">
          <a:xfrm>
            <a:off x="3048814" y="2977988"/>
            <a:ext cx="2908463" cy="1629627"/>
            <a:chOff x="4875566" y="1041545"/>
            <a:chExt cx="3643393" cy="2147290"/>
          </a:xfrm>
        </p:grpSpPr>
        <p:grpSp>
          <p:nvGrpSpPr>
            <p:cNvPr id="74" name="Gruppieren 14">
              <a:extLst>
                <a:ext uri="{FF2B5EF4-FFF2-40B4-BE49-F238E27FC236}">
                  <a16:creationId xmlns:a16="http://schemas.microsoft.com/office/drawing/2014/main" id="{4967776A-59F0-459F-BFEA-379B52E1BFBC}"/>
                </a:ext>
              </a:extLst>
            </p:cNvPr>
            <p:cNvGrpSpPr/>
            <p:nvPr/>
          </p:nvGrpSpPr>
          <p:grpSpPr bwMode="gray">
            <a:xfrm>
              <a:off x="5313841" y="1041545"/>
              <a:ext cx="3205118" cy="1854329"/>
              <a:chOff x="5313841" y="1067108"/>
              <a:chExt cx="3205118" cy="1854329"/>
            </a:xfrm>
          </p:grpSpPr>
          <p:sp>
            <p:nvSpPr>
              <p:cNvPr id="91" name="Ellipse 233">
                <a:extLst>
                  <a:ext uri="{FF2B5EF4-FFF2-40B4-BE49-F238E27FC236}">
                    <a16:creationId xmlns:a16="http://schemas.microsoft.com/office/drawing/2014/main" id="{F5E2B7BE-35C1-4C5B-A79A-85C482AA43FF}"/>
                  </a:ext>
                </a:extLst>
              </p:cNvPr>
              <p:cNvSpPr/>
              <p:nvPr/>
            </p:nvSpPr>
            <p:spPr bwMode="gray">
              <a:xfrm>
                <a:off x="5313841" y="2400615"/>
                <a:ext cx="3205118" cy="520822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4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marL="0" marR="0" lvl="0" indent="0" algn="ctr" defTabSz="112315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1A181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92" name="Group 1633">
                <a:extLst>
                  <a:ext uri="{FF2B5EF4-FFF2-40B4-BE49-F238E27FC236}">
                    <a16:creationId xmlns:a16="http://schemas.microsoft.com/office/drawing/2014/main" id="{579270D7-7E1C-4058-9B99-5F3BB289CA8B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5569176" y="1067108"/>
                <a:ext cx="2318539" cy="1732469"/>
                <a:chOff x="1606" y="2518"/>
                <a:chExt cx="1171" cy="875"/>
              </a:xfrm>
              <a:effectLst/>
            </p:grpSpPr>
            <p:grpSp>
              <p:nvGrpSpPr>
                <p:cNvPr id="93" name="Group 1634">
                  <a:extLst>
                    <a:ext uri="{FF2B5EF4-FFF2-40B4-BE49-F238E27FC236}">
                      <a16:creationId xmlns:a16="http://schemas.microsoft.com/office/drawing/2014/main" id="{0DB3FBF3-63C9-4633-9BB0-59B302BBB3C9}"/>
                    </a:ext>
                  </a:extLst>
                </p:cNvPr>
                <p:cNvGrpSpPr>
                  <a:grpSpLocks/>
                </p:cNvGrpSpPr>
                <p:nvPr/>
              </p:nvGrpSpPr>
              <p:grpSpPr bwMode="gray">
                <a:xfrm>
                  <a:off x="1606" y="2518"/>
                  <a:ext cx="1171" cy="875"/>
                  <a:chOff x="4352" y="2518"/>
                  <a:chExt cx="1171" cy="875"/>
                </a:xfrm>
              </p:grpSpPr>
              <p:sp>
                <p:nvSpPr>
                  <p:cNvPr id="95" name="Freeform 1635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C90DBBCE-41EF-4DFE-A541-377AB185AA2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4352" y="3126"/>
                    <a:ext cx="1171" cy="208"/>
                  </a:xfrm>
                  <a:custGeom>
                    <a:avLst/>
                    <a:gdLst/>
                    <a:ahLst/>
                    <a:cxnLst>
                      <a:cxn ang="0">
                        <a:pos x="543" y="96"/>
                      </a:cxn>
                      <a:cxn ang="0">
                        <a:pos x="543" y="96"/>
                      </a:cxn>
                      <a:cxn ang="0">
                        <a:pos x="541" y="92"/>
                      </a:cxn>
                      <a:cxn ang="0">
                        <a:pos x="460" y="8"/>
                      </a:cxn>
                      <a:cxn ang="0">
                        <a:pos x="443" y="0"/>
                      </a:cxn>
                      <a:cxn ang="0">
                        <a:pos x="100" y="0"/>
                      </a:cxn>
                      <a:cxn ang="0">
                        <a:pos x="84" y="7"/>
                      </a:cxn>
                      <a:cxn ang="0">
                        <a:pos x="3" y="92"/>
                      </a:cxn>
                      <a:cxn ang="0">
                        <a:pos x="0" y="96"/>
                      </a:cxn>
                      <a:cxn ang="0">
                        <a:pos x="0" y="96"/>
                      </a:cxn>
                      <a:cxn ang="0">
                        <a:pos x="543" y="96"/>
                      </a:cxn>
                    </a:cxnLst>
                    <a:rect l="0" t="0" r="r" b="b"/>
                    <a:pathLst>
                      <a:path w="543" h="96">
                        <a:moveTo>
                          <a:pt x="543" y="96"/>
                        </a:moveTo>
                        <a:cubicBezTo>
                          <a:pt x="543" y="96"/>
                          <a:pt x="543" y="96"/>
                          <a:pt x="543" y="96"/>
                        </a:cubicBezTo>
                        <a:cubicBezTo>
                          <a:pt x="543" y="94"/>
                          <a:pt x="542" y="93"/>
                          <a:pt x="541" y="92"/>
                        </a:cubicBezTo>
                        <a:cubicBezTo>
                          <a:pt x="460" y="8"/>
                          <a:pt x="460" y="8"/>
                          <a:pt x="460" y="8"/>
                        </a:cubicBezTo>
                        <a:cubicBezTo>
                          <a:pt x="456" y="4"/>
                          <a:pt x="449" y="0"/>
                          <a:pt x="443" y="0"/>
                        </a:cubicBezTo>
                        <a:cubicBezTo>
                          <a:pt x="100" y="0"/>
                          <a:pt x="100" y="0"/>
                          <a:pt x="100" y="0"/>
                        </a:cubicBezTo>
                        <a:cubicBezTo>
                          <a:pt x="95" y="0"/>
                          <a:pt x="87" y="4"/>
                          <a:pt x="84" y="7"/>
                        </a:cubicBezTo>
                        <a:cubicBezTo>
                          <a:pt x="3" y="92"/>
                          <a:pt x="3" y="92"/>
                          <a:pt x="3" y="92"/>
                        </a:cubicBezTo>
                        <a:cubicBezTo>
                          <a:pt x="1" y="93"/>
                          <a:pt x="0" y="95"/>
                          <a:pt x="0" y="96"/>
                        </a:cubicBezTo>
                        <a:cubicBezTo>
                          <a:pt x="0" y="96"/>
                          <a:pt x="0" y="96"/>
                          <a:pt x="0" y="96"/>
                        </a:cubicBezTo>
                        <a:lnTo>
                          <a:pt x="543" y="96"/>
                        </a:ln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949494"/>
                      </a:gs>
                      <a:gs pos="50000">
                        <a:srgbClr val="DDDDDD"/>
                      </a:gs>
                      <a:gs pos="100000">
                        <a:srgbClr val="949494"/>
                      </a:gs>
                    </a:gsLst>
                    <a:lin ang="540000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112315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1A1812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6" name="Freeform 1636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608E6585-C7AE-4921-BDF2-A7C345FCF40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4545" y="2546"/>
                    <a:ext cx="786" cy="573"/>
                  </a:xfrm>
                  <a:custGeom>
                    <a:avLst/>
                    <a:gdLst/>
                    <a:ahLst/>
                    <a:cxnLst>
                      <a:cxn ang="0">
                        <a:pos x="351" y="0"/>
                      </a:cxn>
                      <a:cxn ang="0">
                        <a:pos x="351" y="242"/>
                      </a:cxn>
                      <a:cxn ang="0">
                        <a:pos x="13" y="242"/>
                      </a:cxn>
                      <a:cxn ang="0">
                        <a:pos x="13" y="0"/>
                      </a:cxn>
                      <a:cxn ang="0">
                        <a:pos x="0" y="0"/>
                      </a:cxn>
                      <a:cxn ang="0">
                        <a:pos x="0" y="259"/>
                      </a:cxn>
                      <a:cxn ang="0">
                        <a:pos x="6" y="265"/>
                      </a:cxn>
                      <a:cxn ang="0">
                        <a:pos x="359" y="265"/>
                      </a:cxn>
                      <a:cxn ang="0">
                        <a:pos x="364" y="259"/>
                      </a:cxn>
                      <a:cxn ang="0">
                        <a:pos x="364" y="0"/>
                      </a:cxn>
                      <a:cxn ang="0">
                        <a:pos x="351" y="0"/>
                      </a:cxn>
                    </a:cxnLst>
                    <a:rect l="0" t="0" r="r" b="b"/>
                    <a:pathLst>
                      <a:path w="364" h="265">
                        <a:moveTo>
                          <a:pt x="351" y="0"/>
                        </a:moveTo>
                        <a:cubicBezTo>
                          <a:pt x="351" y="242"/>
                          <a:pt x="351" y="242"/>
                          <a:pt x="351" y="242"/>
                        </a:cubicBezTo>
                        <a:cubicBezTo>
                          <a:pt x="13" y="242"/>
                          <a:pt x="13" y="242"/>
                          <a:pt x="13" y="242"/>
                        </a:cubicBezTo>
                        <a:cubicBezTo>
                          <a:pt x="13" y="0"/>
                          <a:pt x="13" y="0"/>
                          <a:pt x="13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259"/>
                          <a:pt x="0" y="259"/>
                          <a:pt x="0" y="259"/>
                        </a:cubicBezTo>
                        <a:cubicBezTo>
                          <a:pt x="0" y="262"/>
                          <a:pt x="3" y="265"/>
                          <a:pt x="6" y="265"/>
                        </a:cubicBezTo>
                        <a:cubicBezTo>
                          <a:pt x="359" y="265"/>
                          <a:pt x="359" y="265"/>
                          <a:pt x="359" y="265"/>
                        </a:cubicBezTo>
                        <a:cubicBezTo>
                          <a:pt x="362" y="265"/>
                          <a:pt x="364" y="262"/>
                          <a:pt x="364" y="259"/>
                        </a:cubicBezTo>
                        <a:cubicBezTo>
                          <a:pt x="364" y="0"/>
                          <a:pt x="364" y="0"/>
                          <a:pt x="364" y="0"/>
                        </a:cubicBezTo>
                        <a:lnTo>
                          <a:pt x="351" y="0"/>
                        </a:ln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949494"/>
                      </a:gs>
                      <a:gs pos="50000">
                        <a:srgbClr val="DDDDDD"/>
                      </a:gs>
                      <a:gs pos="100000">
                        <a:srgbClr val="949494"/>
                      </a:gs>
                    </a:gsLst>
                    <a:lin ang="540000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112315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1A1812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97" name="Group 1637">
                    <a:extLst>
                      <a:ext uri="{FF2B5EF4-FFF2-40B4-BE49-F238E27FC236}">
                        <a16:creationId xmlns:a16="http://schemas.microsoft.com/office/drawing/2014/main" id="{49B55E03-8716-470E-9F02-5BC539053508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gray">
                  <a:xfrm>
                    <a:off x="4574" y="2546"/>
                    <a:ext cx="730" cy="522"/>
                    <a:chOff x="4574" y="2546"/>
                    <a:chExt cx="730" cy="522"/>
                  </a:xfrm>
                </p:grpSpPr>
                <p:sp>
                  <p:nvSpPr>
                    <p:cNvPr id="109" name="Freeform 1638" descr="© INSCALE GmbH, 26.05.2010&#10;http://www.presentationload.com/">
                      <a:extLst>
                        <a:ext uri="{FF2B5EF4-FFF2-40B4-BE49-F238E27FC236}">
                          <a16:creationId xmlns:a16="http://schemas.microsoft.com/office/drawing/2014/main" id="{D5A0AD87-365C-480E-9951-A89EB296DE22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4935" y="2546"/>
                      <a:ext cx="369" cy="522"/>
                    </a:xfrm>
                    <a:custGeom>
                      <a:avLst/>
                      <a:gdLst/>
                      <a:ahLst/>
                      <a:cxnLst>
                        <a:cxn ang="0">
                          <a:pos x="404" y="0"/>
                        </a:cxn>
                        <a:cxn ang="0">
                          <a:pos x="0" y="0"/>
                        </a:cxn>
                        <a:cxn ang="0">
                          <a:pos x="217" y="571"/>
                        </a:cxn>
                        <a:cxn ang="0">
                          <a:pos x="404" y="571"/>
                        </a:cxn>
                        <a:cxn ang="0">
                          <a:pos x="404" y="0"/>
                        </a:cxn>
                      </a:cxnLst>
                      <a:rect l="0" t="0" r="r" b="b"/>
                      <a:pathLst>
                        <a:path w="404" h="571">
                          <a:moveTo>
                            <a:pt x="404" y="0"/>
                          </a:moveTo>
                          <a:lnTo>
                            <a:pt x="0" y="0"/>
                          </a:lnTo>
                          <a:lnTo>
                            <a:pt x="217" y="571"/>
                          </a:lnTo>
                          <a:lnTo>
                            <a:pt x="404" y="571"/>
                          </a:lnTo>
                          <a:lnTo>
                            <a:pt x="404" y="0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chemeClr val="accent1">
                            <a:lumMod val="50000"/>
                          </a:schemeClr>
                        </a:gs>
                        <a:gs pos="100000">
                          <a:schemeClr val="accent1"/>
                        </a:gs>
                      </a:gsLst>
                      <a:lin ang="5400000" scaled="1"/>
                    </a:gradFill>
                    <a:ln w="9525">
                      <a:gradFill flip="none" rotWithShape="1">
                        <a:gsLst>
                          <a:gs pos="0">
                            <a:schemeClr val="accent1">
                              <a:lumMod val="50000"/>
                            </a:schemeClr>
                          </a:gs>
                          <a:gs pos="100000">
                            <a:schemeClr val="accent1"/>
                          </a:gs>
                        </a:gsLst>
                        <a:lin ang="5400000" scaled="1"/>
                        <a:tileRect/>
                      </a:gra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marL="0" marR="0" lvl="0" indent="0" algn="l" defTabSz="11231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A1812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10" name="Freeform 1639" descr="© INSCALE GmbH, 26.05.2010&#10;http://www.presentationload.com/">
                      <a:extLst>
                        <a:ext uri="{FF2B5EF4-FFF2-40B4-BE49-F238E27FC236}">
                          <a16:creationId xmlns:a16="http://schemas.microsoft.com/office/drawing/2014/main" id="{DA30658C-779F-4026-A0FD-D0FC1D156F84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4574" y="2627"/>
                      <a:ext cx="337" cy="441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482"/>
                        </a:cxn>
                        <a:cxn ang="0">
                          <a:pos x="369" y="482"/>
                        </a:cxn>
                        <a:cxn ang="0">
                          <a:pos x="0" y="0"/>
                        </a:cxn>
                        <a:cxn ang="0">
                          <a:pos x="0" y="482"/>
                        </a:cxn>
                      </a:cxnLst>
                      <a:rect l="0" t="0" r="r" b="b"/>
                      <a:pathLst>
                        <a:path w="369" h="482">
                          <a:moveTo>
                            <a:pt x="0" y="482"/>
                          </a:moveTo>
                          <a:lnTo>
                            <a:pt x="369" y="482"/>
                          </a:lnTo>
                          <a:lnTo>
                            <a:pt x="0" y="0"/>
                          </a:lnTo>
                          <a:lnTo>
                            <a:pt x="0" y="482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chemeClr val="accent1">
                            <a:lumMod val="50000"/>
                          </a:schemeClr>
                        </a:gs>
                        <a:gs pos="100000">
                          <a:schemeClr val="accent1"/>
                        </a:gs>
                      </a:gsLst>
                      <a:lin ang="5400000" scaled="1"/>
                    </a:gradFill>
                    <a:ln w="9525">
                      <a:gradFill flip="none" rotWithShape="1">
                        <a:gsLst>
                          <a:gs pos="0">
                            <a:schemeClr val="accent1">
                              <a:lumMod val="50000"/>
                            </a:schemeClr>
                          </a:gs>
                          <a:gs pos="100000">
                            <a:schemeClr val="accent1"/>
                          </a:gs>
                        </a:gsLst>
                        <a:lin ang="5400000" scaled="1"/>
                        <a:tileRect/>
                      </a:gra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marL="0" marR="0" lvl="0" indent="0" algn="l" defTabSz="11231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A1812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11" name="Freeform 1640" descr="© INSCALE GmbH, 26.05.2010&#10;http://www.presentationload.com/">
                      <a:extLst>
                        <a:ext uri="{FF2B5EF4-FFF2-40B4-BE49-F238E27FC236}">
                          <a16:creationId xmlns:a16="http://schemas.microsoft.com/office/drawing/2014/main" id="{CB9F6287-B3DB-465F-B409-DC1439B71B1E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4574" y="2546"/>
                      <a:ext cx="559" cy="52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0" y="89"/>
                        </a:cxn>
                        <a:cxn ang="0">
                          <a:pos x="369" y="571"/>
                        </a:cxn>
                        <a:cxn ang="0">
                          <a:pos x="612" y="571"/>
                        </a:cxn>
                        <a:cxn ang="0">
                          <a:pos x="395" y="0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612" h="571">
                          <a:moveTo>
                            <a:pt x="0" y="0"/>
                          </a:moveTo>
                          <a:lnTo>
                            <a:pt x="0" y="89"/>
                          </a:lnTo>
                          <a:lnTo>
                            <a:pt x="369" y="571"/>
                          </a:lnTo>
                          <a:lnTo>
                            <a:pt x="612" y="571"/>
                          </a:lnTo>
                          <a:lnTo>
                            <a:pt x="395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chemeClr val="accent1"/>
                        </a:gs>
                        <a:gs pos="100000">
                          <a:schemeClr val="accent1">
                            <a:lumMod val="60000"/>
                            <a:lumOff val="40000"/>
                          </a:schemeClr>
                        </a:gs>
                      </a:gsLst>
                      <a:lin ang="16200000" scaled="1"/>
                      <a:tileRect/>
                    </a:gradFill>
                    <a:ln w="9525"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accent1">
                              <a:lumMod val="60000"/>
                              <a:lumOff val="40000"/>
                            </a:schemeClr>
                          </a:gs>
                        </a:gsLst>
                        <a:lin ang="16200000" scaled="1"/>
                        <a:tileRect/>
                      </a:gra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marL="0" marR="0" lvl="0" indent="0" algn="l" defTabSz="11231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A1812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98" name="Freeform 1641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9C2733D9-8962-4912-9FA9-DCF298B471F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4545" y="2518"/>
                    <a:ext cx="786" cy="28"/>
                  </a:xfrm>
                  <a:custGeom>
                    <a:avLst/>
                    <a:gdLst/>
                    <a:ahLst/>
                    <a:cxnLst>
                      <a:cxn ang="0">
                        <a:pos x="13" y="13"/>
                      </a:cxn>
                      <a:cxn ang="0">
                        <a:pos x="351" y="13"/>
                      </a:cxn>
                      <a:cxn ang="0">
                        <a:pos x="351" y="13"/>
                      </a:cxn>
                      <a:cxn ang="0">
                        <a:pos x="364" y="13"/>
                      </a:cxn>
                      <a:cxn ang="0">
                        <a:pos x="364" y="6"/>
                      </a:cxn>
                      <a:cxn ang="0">
                        <a:pos x="359" y="0"/>
                      </a:cxn>
                      <a:cxn ang="0">
                        <a:pos x="6" y="0"/>
                      </a:cxn>
                      <a:cxn ang="0">
                        <a:pos x="0" y="6"/>
                      </a:cxn>
                      <a:cxn ang="0">
                        <a:pos x="0" y="13"/>
                      </a:cxn>
                      <a:cxn ang="0">
                        <a:pos x="13" y="13"/>
                      </a:cxn>
                    </a:cxnLst>
                    <a:rect l="0" t="0" r="r" b="b"/>
                    <a:pathLst>
                      <a:path w="364" h="13">
                        <a:moveTo>
                          <a:pt x="13" y="13"/>
                        </a:moveTo>
                        <a:cubicBezTo>
                          <a:pt x="351" y="13"/>
                          <a:pt x="351" y="13"/>
                          <a:pt x="351" y="13"/>
                        </a:cubicBezTo>
                        <a:cubicBezTo>
                          <a:pt x="351" y="13"/>
                          <a:pt x="351" y="13"/>
                          <a:pt x="351" y="13"/>
                        </a:cubicBezTo>
                        <a:cubicBezTo>
                          <a:pt x="364" y="13"/>
                          <a:pt x="364" y="13"/>
                          <a:pt x="364" y="13"/>
                        </a:cubicBezTo>
                        <a:cubicBezTo>
                          <a:pt x="364" y="6"/>
                          <a:pt x="364" y="6"/>
                          <a:pt x="364" y="6"/>
                        </a:cubicBezTo>
                        <a:cubicBezTo>
                          <a:pt x="364" y="3"/>
                          <a:pt x="362" y="0"/>
                          <a:pt x="359" y="0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3" y="0"/>
                          <a:pt x="0" y="3"/>
                          <a:pt x="0" y="6"/>
                        </a:cubicBez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13" y="13"/>
                          <a:pt x="13" y="13"/>
                          <a:pt x="13" y="13"/>
                        </a:cubicBez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EAEAEA"/>
                      </a:gs>
                      <a:gs pos="100000">
                        <a:srgbClr val="949494"/>
                      </a:gs>
                    </a:gsLst>
                    <a:lin ang="540000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112315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1A1812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9" name="Rectangle 1642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CD699384-9423-4C1D-912D-DED52F494A8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4943" y="2526"/>
                    <a:ext cx="58" cy="11"/>
                  </a:xfrm>
                  <a:prstGeom prst="rect">
                    <a:avLst/>
                  </a:prstGeom>
                  <a:solidFill>
                    <a:srgbClr val="DBDBDB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112315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1A1812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0" name="Rectangle 1643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7B3A011C-65F8-43D0-9F5F-C53312D3EC8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4877" y="2526"/>
                    <a:ext cx="58" cy="11"/>
                  </a:xfrm>
                  <a:prstGeom prst="rect">
                    <a:avLst/>
                  </a:prstGeom>
                  <a:solidFill>
                    <a:srgbClr val="DBDBDB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112315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1A1812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1" name="Rectangle 1644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6481D7C2-D769-4614-8B53-582ABF1242F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5213" y="3096"/>
                    <a:ext cx="91" cy="32"/>
                  </a:xfrm>
                  <a:prstGeom prst="rect">
                    <a:avLst/>
                  </a:prstGeom>
                  <a:solidFill>
                    <a:srgbClr val="545454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112315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1A1812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2" name="Rectangle 1645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853A8D94-62D3-49EF-8B39-18D490D79A9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4574" y="3096"/>
                    <a:ext cx="90" cy="32"/>
                  </a:xfrm>
                  <a:prstGeom prst="rect">
                    <a:avLst/>
                  </a:prstGeom>
                  <a:solidFill>
                    <a:srgbClr val="545454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112315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1A1812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3" name="Rectangle 1646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BFA80E6B-20CE-4C1D-AFAE-40CF6CB6AD94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4352" y="3334"/>
                    <a:ext cx="1171" cy="21"/>
                  </a:xfrm>
                  <a:prstGeom prst="rect">
                    <a:avLst/>
                  </a:prstGeom>
                  <a:gradFill rotWithShape="1">
                    <a:gsLst>
                      <a:gs pos="0">
                        <a:srgbClr val="000000"/>
                      </a:gs>
                      <a:gs pos="50000">
                        <a:srgbClr val="949494"/>
                      </a:gs>
                      <a:gs pos="100000">
                        <a:srgbClr val="000000"/>
                      </a:gs>
                    </a:gsLst>
                    <a:lin ang="0" scaled="1"/>
                  </a:gra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112315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1A1812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4" name="Freeform 1647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2C7C5C3D-E7B7-40F0-B452-5E7B9E06764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4352" y="3355"/>
                    <a:ext cx="1171" cy="38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7"/>
                      </a:cxn>
                      <a:cxn ang="0">
                        <a:pos x="13" y="17"/>
                      </a:cxn>
                      <a:cxn ang="0">
                        <a:pos x="531" y="17"/>
                      </a:cxn>
                      <a:cxn ang="0">
                        <a:pos x="543" y="7"/>
                      </a:cxn>
                      <a:cxn ang="0">
                        <a:pos x="543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543" h="17">
                        <a:moveTo>
                          <a:pt x="0" y="0"/>
                        </a:move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0" y="13"/>
                          <a:pt x="6" y="17"/>
                          <a:pt x="13" y="17"/>
                        </a:cubicBezTo>
                        <a:cubicBezTo>
                          <a:pt x="531" y="17"/>
                          <a:pt x="531" y="17"/>
                          <a:pt x="531" y="17"/>
                        </a:cubicBezTo>
                        <a:cubicBezTo>
                          <a:pt x="537" y="17"/>
                          <a:pt x="543" y="13"/>
                          <a:pt x="543" y="7"/>
                        </a:cubicBezTo>
                        <a:cubicBezTo>
                          <a:pt x="543" y="0"/>
                          <a:pt x="543" y="0"/>
                          <a:pt x="543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949494"/>
                      </a:gs>
                      <a:gs pos="50000">
                        <a:srgbClr val="EAEAEA"/>
                      </a:gs>
                      <a:gs pos="100000">
                        <a:srgbClr val="949494"/>
                      </a:gs>
                    </a:gsLst>
                    <a:lin ang="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112315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1A1812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5" name="Freeform 1648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B9B28AE4-9F7C-4336-8765-68C21350F9E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4458" y="3139"/>
                    <a:ext cx="960" cy="107"/>
                  </a:xfrm>
                  <a:custGeom>
                    <a:avLst/>
                    <a:gdLst/>
                    <a:ahLst/>
                    <a:cxnLst>
                      <a:cxn ang="0">
                        <a:pos x="405" y="7"/>
                      </a:cxn>
                      <a:cxn ang="0">
                        <a:pos x="389" y="0"/>
                      </a:cxn>
                      <a:cxn ang="0">
                        <a:pos x="57" y="0"/>
                      </a:cxn>
                      <a:cxn ang="0">
                        <a:pos x="41" y="7"/>
                      </a:cxn>
                      <a:cxn ang="0">
                        <a:pos x="0" y="49"/>
                      </a:cxn>
                      <a:cxn ang="0">
                        <a:pos x="445" y="49"/>
                      </a:cxn>
                      <a:cxn ang="0">
                        <a:pos x="405" y="7"/>
                      </a:cxn>
                    </a:cxnLst>
                    <a:rect l="0" t="0" r="r" b="b"/>
                    <a:pathLst>
                      <a:path w="445" h="49">
                        <a:moveTo>
                          <a:pt x="405" y="7"/>
                        </a:moveTo>
                        <a:cubicBezTo>
                          <a:pt x="401" y="3"/>
                          <a:pt x="394" y="0"/>
                          <a:pt x="389" y="0"/>
                        </a:cubicBezTo>
                        <a:cubicBezTo>
                          <a:pt x="57" y="0"/>
                          <a:pt x="57" y="0"/>
                          <a:pt x="57" y="0"/>
                        </a:cubicBezTo>
                        <a:cubicBezTo>
                          <a:pt x="52" y="0"/>
                          <a:pt x="45" y="3"/>
                          <a:pt x="41" y="7"/>
                        </a:cubicBezTo>
                        <a:cubicBezTo>
                          <a:pt x="0" y="49"/>
                          <a:pt x="0" y="49"/>
                          <a:pt x="0" y="49"/>
                        </a:cubicBezTo>
                        <a:cubicBezTo>
                          <a:pt x="445" y="49"/>
                          <a:pt x="445" y="49"/>
                          <a:pt x="445" y="49"/>
                        </a:cubicBezTo>
                        <a:lnTo>
                          <a:pt x="405" y="7"/>
                        </a:lnTo>
                        <a:close/>
                      </a:path>
                    </a:pathLst>
                  </a:custGeom>
                  <a:solidFill>
                    <a:srgbClr val="B2B2B2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112315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1A1812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6" name="Freeform 1649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B21C94BB-2CDB-40DB-A8F2-3BBF3645208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4829" y="3257"/>
                    <a:ext cx="220" cy="61"/>
                  </a:xfrm>
                  <a:custGeom>
                    <a:avLst/>
                    <a:gdLst/>
                    <a:ahLst/>
                    <a:cxnLst>
                      <a:cxn ang="0">
                        <a:pos x="5" y="29"/>
                      </a:cxn>
                      <a:cxn ang="0">
                        <a:pos x="1" y="23"/>
                      </a:cxn>
                      <a:cxn ang="0">
                        <a:pos x="6" y="6"/>
                      </a:cxn>
                      <a:cxn ang="0">
                        <a:pos x="14" y="0"/>
                      </a:cxn>
                      <a:cxn ang="0">
                        <a:pos x="88" y="0"/>
                      </a:cxn>
                      <a:cxn ang="0">
                        <a:pos x="95" y="6"/>
                      </a:cxn>
                      <a:cxn ang="0">
                        <a:pos x="101" y="23"/>
                      </a:cxn>
                      <a:cxn ang="0">
                        <a:pos x="96" y="29"/>
                      </a:cxn>
                      <a:cxn ang="0">
                        <a:pos x="5" y="29"/>
                      </a:cxn>
                    </a:cxnLst>
                    <a:rect l="0" t="0" r="r" b="b"/>
                    <a:pathLst>
                      <a:path w="102" h="29">
                        <a:moveTo>
                          <a:pt x="5" y="29"/>
                        </a:moveTo>
                        <a:cubicBezTo>
                          <a:pt x="2" y="29"/>
                          <a:pt x="0" y="26"/>
                          <a:pt x="1" y="23"/>
                        </a:cubicBezTo>
                        <a:cubicBezTo>
                          <a:pt x="6" y="6"/>
                          <a:pt x="6" y="6"/>
                          <a:pt x="6" y="6"/>
                        </a:cubicBezTo>
                        <a:cubicBezTo>
                          <a:pt x="7" y="3"/>
                          <a:pt x="11" y="0"/>
                          <a:pt x="14" y="0"/>
                        </a:cubicBezTo>
                        <a:cubicBezTo>
                          <a:pt x="88" y="0"/>
                          <a:pt x="88" y="0"/>
                          <a:pt x="88" y="0"/>
                        </a:cubicBezTo>
                        <a:cubicBezTo>
                          <a:pt x="91" y="0"/>
                          <a:pt x="94" y="3"/>
                          <a:pt x="95" y="6"/>
                        </a:cubicBezTo>
                        <a:cubicBezTo>
                          <a:pt x="101" y="23"/>
                          <a:pt x="101" y="23"/>
                          <a:pt x="101" y="23"/>
                        </a:cubicBezTo>
                        <a:cubicBezTo>
                          <a:pt x="102" y="26"/>
                          <a:pt x="100" y="29"/>
                          <a:pt x="96" y="29"/>
                        </a:cubicBezTo>
                        <a:lnTo>
                          <a:pt x="5" y="29"/>
                        </a:lnTo>
                        <a:close/>
                      </a:path>
                    </a:pathLst>
                  </a:custGeom>
                  <a:solidFill>
                    <a:srgbClr val="30303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112315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1A1812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7" name="Freeform 1650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A178838F-98C5-4253-B245-573401EF1A9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4829" y="3257"/>
                    <a:ext cx="220" cy="61"/>
                  </a:xfrm>
                  <a:custGeom>
                    <a:avLst/>
                    <a:gdLst/>
                    <a:ahLst/>
                    <a:cxnLst>
                      <a:cxn ang="0">
                        <a:pos x="5" y="29"/>
                      </a:cxn>
                      <a:cxn ang="0">
                        <a:pos x="1" y="23"/>
                      </a:cxn>
                      <a:cxn ang="0">
                        <a:pos x="6" y="6"/>
                      </a:cxn>
                      <a:cxn ang="0">
                        <a:pos x="14" y="0"/>
                      </a:cxn>
                      <a:cxn ang="0">
                        <a:pos x="88" y="0"/>
                      </a:cxn>
                      <a:cxn ang="0">
                        <a:pos x="95" y="6"/>
                      </a:cxn>
                      <a:cxn ang="0">
                        <a:pos x="101" y="23"/>
                      </a:cxn>
                      <a:cxn ang="0">
                        <a:pos x="96" y="29"/>
                      </a:cxn>
                      <a:cxn ang="0">
                        <a:pos x="5" y="29"/>
                      </a:cxn>
                    </a:cxnLst>
                    <a:rect l="0" t="0" r="r" b="b"/>
                    <a:pathLst>
                      <a:path w="102" h="29">
                        <a:moveTo>
                          <a:pt x="5" y="29"/>
                        </a:moveTo>
                        <a:cubicBezTo>
                          <a:pt x="2" y="29"/>
                          <a:pt x="0" y="26"/>
                          <a:pt x="1" y="23"/>
                        </a:cubicBezTo>
                        <a:cubicBezTo>
                          <a:pt x="6" y="6"/>
                          <a:pt x="6" y="6"/>
                          <a:pt x="6" y="6"/>
                        </a:cubicBezTo>
                        <a:cubicBezTo>
                          <a:pt x="7" y="3"/>
                          <a:pt x="11" y="0"/>
                          <a:pt x="14" y="0"/>
                        </a:cubicBezTo>
                        <a:cubicBezTo>
                          <a:pt x="88" y="0"/>
                          <a:pt x="88" y="0"/>
                          <a:pt x="88" y="0"/>
                        </a:cubicBezTo>
                        <a:cubicBezTo>
                          <a:pt x="91" y="0"/>
                          <a:pt x="94" y="3"/>
                          <a:pt x="95" y="6"/>
                        </a:cubicBezTo>
                        <a:cubicBezTo>
                          <a:pt x="101" y="23"/>
                          <a:pt x="101" y="23"/>
                          <a:pt x="101" y="23"/>
                        </a:cubicBezTo>
                        <a:cubicBezTo>
                          <a:pt x="102" y="26"/>
                          <a:pt x="100" y="29"/>
                          <a:pt x="96" y="29"/>
                        </a:cubicBezTo>
                        <a:lnTo>
                          <a:pt x="5" y="29"/>
                        </a:lnTo>
                        <a:close/>
                      </a:path>
                    </a:pathLst>
                  </a:custGeom>
                  <a:solidFill>
                    <a:srgbClr val="73737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algn="l" defTabSz="112315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1A1812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8" name="Rectangle 1651" descr="© INSCALE GmbH, 26.05.2010&#10;http://www.presentationload.com/">
                    <a:extLst>
                      <a:ext uri="{FF2B5EF4-FFF2-40B4-BE49-F238E27FC236}">
                        <a16:creationId xmlns:a16="http://schemas.microsoft.com/office/drawing/2014/main" id="{C3B44AFF-C8B4-4536-8BFC-F7F183E51A1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4574" y="2546"/>
                    <a:ext cx="729" cy="522"/>
                  </a:xfrm>
                  <a:prstGeom prst="rect">
                    <a:avLst/>
                  </a:prstGeom>
                  <a:noFill/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marL="0" marR="0" lvl="0" indent="0" algn="l" defTabSz="112315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1A1812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94" name="Freeform 1652" descr="© INSCALE GmbH, 26.05.2010&#10;http://www.presentationload.com/">
                  <a:extLst>
                    <a:ext uri="{FF2B5EF4-FFF2-40B4-BE49-F238E27FC236}">
                      <a16:creationId xmlns:a16="http://schemas.microsoft.com/office/drawing/2014/main" id="{FF31426C-BC83-40CC-8F85-89E5D367D581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1749" y="3148"/>
                  <a:ext cx="885" cy="87"/>
                </a:xfrm>
                <a:custGeom>
                  <a:avLst/>
                  <a:gdLst/>
                  <a:ahLst/>
                  <a:cxnLst>
                    <a:cxn ang="0">
                      <a:pos x="204" y="1"/>
                    </a:cxn>
                    <a:cxn ang="0">
                      <a:pos x="275" y="9"/>
                    </a:cxn>
                    <a:cxn ang="0">
                      <a:pos x="492" y="1"/>
                    </a:cxn>
                    <a:cxn ang="0">
                      <a:pos x="497" y="9"/>
                    </a:cxn>
                    <a:cxn ang="0">
                      <a:pos x="631" y="1"/>
                    </a:cxn>
                    <a:cxn ang="0">
                      <a:pos x="769" y="1"/>
                    </a:cxn>
                    <a:cxn ang="0">
                      <a:pos x="781" y="9"/>
                    </a:cxn>
                    <a:cxn ang="0">
                      <a:pos x="993" y="9"/>
                    </a:cxn>
                    <a:cxn ang="0">
                      <a:pos x="997" y="1"/>
                    </a:cxn>
                    <a:cxn ang="0">
                      <a:pos x="1162" y="9"/>
                    </a:cxn>
                    <a:cxn ang="0">
                      <a:pos x="166" y="31"/>
                    </a:cxn>
                    <a:cxn ang="0">
                      <a:pos x="327" y="11"/>
                    </a:cxn>
                    <a:cxn ang="0">
                      <a:pos x="400" y="31"/>
                    </a:cxn>
                    <a:cxn ang="0">
                      <a:pos x="544" y="11"/>
                    </a:cxn>
                    <a:cxn ang="0">
                      <a:pos x="549" y="31"/>
                    </a:cxn>
                    <a:cxn ang="0">
                      <a:pos x="696" y="31"/>
                    </a:cxn>
                    <a:cxn ang="0">
                      <a:pos x="833" y="31"/>
                    </a:cxn>
                    <a:cxn ang="0">
                      <a:pos x="905" y="12"/>
                    </a:cxn>
                    <a:cxn ang="0">
                      <a:pos x="1064" y="31"/>
                    </a:cxn>
                    <a:cxn ang="0">
                      <a:pos x="1074" y="31"/>
                    </a:cxn>
                    <a:cxn ang="0">
                      <a:pos x="272" y="33"/>
                    </a:cxn>
                    <a:cxn ang="0">
                      <a:pos x="282" y="33"/>
                    </a:cxn>
                    <a:cxn ang="0">
                      <a:pos x="427" y="53"/>
                    </a:cxn>
                    <a:cxn ang="0">
                      <a:pos x="575" y="33"/>
                    </a:cxn>
                    <a:cxn ang="0">
                      <a:pos x="581" y="53"/>
                    </a:cxn>
                    <a:cxn ang="0">
                      <a:pos x="804" y="53"/>
                    </a:cxn>
                    <a:cxn ang="0">
                      <a:pos x="881" y="53"/>
                    </a:cxn>
                    <a:cxn ang="0">
                      <a:pos x="1040" y="53"/>
                    </a:cxn>
                    <a:cxn ang="0">
                      <a:pos x="1050" y="53"/>
                    </a:cxn>
                    <a:cxn ang="0">
                      <a:pos x="1132" y="53"/>
                    </a:cxn>
                    <a:cxn ang="0">
                      <a:pos x="275" y="55"/>
                    </a:cxn>
                    <a:cxn ang="0">
                      <a:pos x="343" y="76"/>
                    </a:cxn>
                    <a:cxn ang="0">
                      <a:pos x="513" y="55"/>
                    </a:cxn>
                    <a:cxn ang="0">
                      <a:pos x="518" y="76"/>
                    </a:cxn>
                    <a:cxn ang="0">
                      <a:pos x="668" y="55"/>
                    </a:cxn>
                    <a:cxn ang="0">
                      <a:pos x="756" y="55"/>
                    </a:cxn>
                    <a:cxn ang="0">
                      <a:pos x="841" y="76"/>
                    </a:cxn>
                    <a:cxn ang="0">
                      <a:pos x="1078" y="75"/>
                    </a:cxn>
                    <a:cxn ang="0">
                      <a:pos x="1207" y="55"/>
                    </a:cxn>
                    <a:cxn ang="0">
                      <a:pos x="221" y="78"/>
                    </a:cxn>
                    <a:cxn ang="0">
                      <a:pos x="300" y="99"/>
                    </a:cxn>
                    <a:cxn ang="0">
                      <a:pos x="461" y="99"/>
                    </a:cxn>
                    <a:cxn ang="0">
                      <a:pos x="560" y="78"/>
                    </a:cxn>
                    <a:cxn ang="0">
                      <a:pos x="641" y="78"/>
                    </a:cxn>
                    <a:cxn ang="0">
                      <a:pos x="801" y="99"/>
                    </a:cxn>
                    <a:cxn ang="0">
                      <a:pos x="957" y="78"/>
                    </a:cxn>
                    <a:cxn ang="0">
                      <a:pos x="981" y="98"/>
                    </a:cxn>
                    <a:cxn ang="0">
                      <a:pos x="20" y="103"/>
                    </a:cxn>
                    <a:cxn ang="0">
                      <a:pos x="162" y="125"/>
                    </a:cxn>
                    <a:cxn ang="0">
                      <a:pos x="173" y="125"/>
                    </a:cxn>
                    <a:cxn ang="0">
                      <a:pos x="375" y="124"/>
                    </a:cxn>
                    <a:cxn ang="0">
                      <a:pos x="908" y="101"/>
                    </a:cxn>
                    <a:cxn ang="0">
                      <a:pos x="1010" y="113"/>
                    </a:cxn>
                    <a:cxn ang="0">
                      <a:pos x="1095" y="110"/>
                    </a:cxn>
                    <a:cxn ang="0">
                      <a:pos x="1097" y="113"/>
                    </a:cxn>
                  </a:cxnLst>
                  <a:rect l="0" t="0" r="r" b="b"/>
                  <a:pathLst>
                    <a:path w="1272" h="125">
                      <a:moveTo>
                        <a:pt x="195" y="1"/>
                      </a:moveTo>
                      <a:cubicBezTo>
                        <a:pt x="168" y="1"/>
                        <a:pt x="142" y="1"/>
                        <a:pt x="115" y="1"/>
                      </a:cubicBezTo>
                      <a:cubicBezTo>
                        <a:pt x="112" y="4"/>
                        <a:pt x="110" y="6"/>
                        <a:pt x="107" y="9"/>
                      </a:cubicBezTo>
                      <a:cubicBezTo>
                        <a:pt x="134" y="9"/>
                        <a:pt x="161" y="9"/>
                        <a:pt x="188" y="9"/>
                      </a:cubicBezTo>
                      <a:cubicBezTo>
                        <a:pt x="191" y="6"/>
                        <a:pt x="192" y="4"/>
                        <a:pt x="195" y="1"/>
                      </a:cubicBezTo>
                      <a:close/>
                      <a:moveTo>
                        <a:pt x="272" y="1"/>
                      </a:moveTo>
                      <a:cubicBezTo>
                        <a:pt x="249" y="1"/>
                        <a:pt x="226" y="1"/>
                        <a:pt x="204" y="1"/>
                      </a:cubicBezTo>
                      <a:cubicBezTo>
                        <a:pt x="201" y="4"/>
                        <a:pt x="199" y="6"/>
                        <a:pt x="197" y="9"/>
                      </a:cubicBezTo>
                      <a:cubicBezTo>
                        <a:pt x="221" y="9"/>
                        <a:pt x="242" y="9"/>
                        <a:pt x="266" y="9"/>
                      </a:cubicBezTo>
                      <a:cubicBezTo>
                        <a:pt x="268" y="6"/>
                        <a:pt x="269" y="4"/>
                        <a:pt x="272" y="1"/>
                      </a:cubicBezTo>
                      <a:close/>
                      <a:moveTo>
                        <a:pt x="342" y="9"/>
                      </a:moveTo>
                      <a:cubicBezTo>
                        <a:pt x="344" y="6"/>
                        <a:pt x="345" y="4"/>
                        <a:pt x="347" y="1"/>
                      </a:cubicBezTo>
                      <a:cubicBezTo>
                        <a:pt x="325" y="1"/>
                        <a:pt x="303" y="1"/>
                        <a:pt x="281" y="1"/>
                      </a:cubicBezTo>
                      <a:cubicBezTo>
                        <a:pt x="279" y="4"/>
                        <a:pt x="278" y="6"/>
                        <a:pt x="275" y="9"/>
                      </a:cubicBezTo>
                      <a:cubicBezTo>
                        <a:pt x="298" y="9"/>
                        <a:pt x="319" y="9"/>
                        <a:pt x="342" y="9"/>
                      </a:cubicBezTo>
                      <a:close/>
                      <a:moveTo>
                        <a:pt x="420" y="1"/>
                      </a:moveTo>
                      <a:cubicBezTo>
                        <a:pt x="399" y="1"/>
                        <a:pt x="378" y="1"/>
                        <a:pt x="357" y="1"/>
                      </a:cubicBezTo>
                      <a:cubicBezTo>
                        <a:pt x="355" y="4"/>
                        <a:pt x="354" y="6"/>
                        <a:pt x="352" y="9"/>
                      </a:cubicBezTo>
                      <a:cubicBezTo>
                        <a:pt x="374" y="9"/>
                        <a:pt x="394" y="9"/>
                        <a:pt x="417" y="9"/>
                      </a:cubicBezTo>
                      <a:cubicBezTo>
                        <a:pt x="418" y="6"/>
                        <a:pt x="419" y="4"/>
                        <a:pt x="420" y="1"/>
                      </a:cubicBezTo>
                      <a:close/>
                      <a:moveTo>
                        <a:pt x="492" y="1"/>
                      </a:moveTo>
                      <a:cubicBezTo>
                        <a:pt x="471" y="1"/>
                        <a:pt x="450" y="1"/>
                        <a:pt x="430" y="1"/>
                      </a:cubicBezTo>
                      <a:cubicBezTo>
                        <a:pt x="428" y="4"/>
                        <a:pt x="427" y="6"/>
                        <a:pt x="426" y="9"/>
                      </a:cubicBezTo>
                      <a:cubicBezTo>
                        <a:pt x="448" y="9"/>
                        <a:pt x="467" y="9"/>
                        <a:pt x="489" y="9"/>
                      </a:cubicBezTo>
                      <a:cubicBezTo>
                        <a:pt x="490" y="6"/>
                        <a:pt x="491" y="4"/>
                        <a:pt x="492" y="1"/>
                      </a:cubicBezTo>
                      <a:close/>
                      <a:moveTo>
                        <a:pt x="561" y="1"/>
                      </a:moveTo>
                      <a:cubicBezTo>
                        <a:pt x="540" y="1"/>
                        <a:pt x="520" y="1"/>
                        <a:pt x="500" y="1"/>
                      </a:cubicBezTo>
                      <a:cubicBezTo>
                        <a:pt x="499" y="4"/>
                        <a:pt x="498" y="6"/>
                        <a:pt x="497" y="9"/>
                      </a:cubicBezTo>
                      <a:cubicBezTo>
                        <a:pt x="519" y="9"/>
                        <a:pt x="538" y="9"/>
                        <a:pt x="559" y="9"/>
                      </a:cubicBezTo>
                      <a:cubicBezTo>
                        <a:pt x="560" y="6"/>
                        <a:pt x="560" y="4"/>
                        <a:pt x="561" y="1"/>
                      </a:cubicBezTo>
                      <a:close/>
                      <a:moveTo>
                        <a:pt x="631" y="1"/>
                      </a:moveTo>
                      <a:cubicBezTo>
                        <a:pt x="611" y="1"/>
                        <a:pt x="590" y="1"/>
                        <a:pt x="570" y="1"/>
                      </a:cubicBezTo>
                      <a:cubicBezTo>
                        <a:pt x="570" y="4"/>
                        <a:pt x="570" y="6"/>
                        <a:pt x="569" y="9"/>
                      </a:cubicBezTo>
                      <a:cubicBezTo>
                        <a:pt x="591" y="9"/>
                        <a:pt x="610" y="9"/>
                        <a:pt x="631" y="9"/>
                      </a:cubicBezTo>
                      <a:cubicBezTo>
                        <a:pt x="631" y="6"/>
                        <a:pt x="631" y="4"/>
                        <a:pt x="631" y="1"/>
                      </a:cubicBezTo>
                      <a:close/>
                      <a:moveTo>
                        <a:pt x="701" y="9"/>
                      </a:moveTo>
                      <a:cubicBezTo>
                        <a:pt x="701" y="6"/>
                        <a:pt x="700" y="4"/>
                        <a:pt x="699" y="1"/>
                      </a:cubicBezTo>
                      <a:cubicBezTo>
                        <a:pt x="678" y="1"/>
                        <a:pt x="660" y="1"/>
                        <a:pt x="639" y="1"/>
                      </a:cubicBezTo>
                      <a:cubicBezTo>
                        <a:pt x="639" y="4"/>
                        <a:pt x="639" y="6"/>
                        <a:pt x="639" y="9"/>
                      </a:cubicBezTo>
                      <a:cubicBezTo>
                        <a:pt x="661" y="9"/>
                        <a:pt x="680" y="9"/>
                        <a:pt x="701" y="9"/>
                      </a:cubicBezTo>
                      <a:close/>
                      <a:moveTo>
                        <a:pt x="772" y="9"/>
                      </a:moveTo>
                      <a:cubicBezTo>
                        <a:pt x="771" y="6"/>
                        <a:pt x="770" y="4"/>
                        <a:pt x="769" y="1"/>
                      </a:cubicBezTo>
                      <a:cubicBezTo>
                        <a:pt x="748" y="1"/>
                        <a:pt x="729" y="1"/>
                        <a:pt x="708" y="1"/>
                      </a:cubicBezTo>
                      <a:cubicBezTo>
                        <a:pt x="708" y="4"/>
                        <a:pt x="709" y="6"/>
                        <a:pt x="710" y="9"/>
                      </a:cubicBezTo>
                      <a:cubicBezTo>
                        <a:pt x="731" y="9"/>
                        <a:pt x="750" y="9"/>
                        <a:pt x="772" y="9"/>
                      </a:cubicBezTo>
                      <a:close/>
                      <a:moveTo>
                        <a:pt x="844" y="9"/>
                      </a:moveTo>
                      <a:cubicBezTo>
                        <a:pt x="843" y="6"/>
                        <a:pt x="842" y="4"/>
                        <a:pt x="840" y="1"/>
                      </a:cubicBezTo>
                      <a:cubicBezTo>
                        <a:pt x="818" y="1"/>
                        <a:pt x="799" y="1"/>
                        <a:pt x="778" y="1"/>
                      </a:cubicBezTo>
                      <a:cubicBezTo>
                        <a:pt x="779" y="4"/>
                        <a:pt x="780" y="6"/>
                        <a:pt x="781" y="9"/>
                      </a:cubicBezTo>
                      <a:cubicBezTo>
                        <a:pt x="803" y="9"/>
                        <a:pt x="822" y="9"/>
                        <a:pt x="844" y="9"/>
                      </a:cubicBezTo>
                      <a:close/>
                      <a:moveTo>
                        <a:pt x="917" y="9"/>
                      </a:moveTo>
                      <a:cubicBezTo>
                        <a:pt x="915" y="6"/>
                        <a:pt x="914" y="4"/>
                        <a:pt x="911" y="1"/>
                      </a:cubicBezTo>
                      <a:cubicBezTo>
                        <a:pt x="889" y="1"/>
                        <a:pt x="870" y="1"/>
                        <a:pt x="848" y="1"/>
                      </a:cubicBezTo>
                      <a:cubicBezTo>
                        <a:pt x="850" y="4"/>
                        <a:pt x="851" y="6"/>
                        <a:pt x="852" y="9"/>
                      </a:cubicBezTo>
                      <a:cubicBezTo>
                        <a:pt x="875" y="9"/>
                        <a:pt x="895" y="9"/>
                        <a:pt x="917" y="9"/>
                      </a:cubicBezTo>
                      <a:close/>
                      <a:moveTo>
                        <a:pt x="993" y="9"/>
                      </a:moveTo>
                      <a:cubicBezTo>
                        <a:pt x="991" y="6"/>
                        <a:pt x="989" y="4"/>
                        <a:pt x="987" y="1"/>
                      </a:cubicBezTo>
                      <a:cubicBezTo>
                        <a:pt x="964" y="1"/>
                        <a:pt x="944" y="1"/>
                        <a:pt x="921" y="1"/>
                      </a:cubicBezTo>
                      <a:cubicBezTo>
                        <a:pt x="923" y="4"/>
                        <a:pt x="924" y="6"/>
                        <a:pt x="927" y="9"/>
                      </a:cubicBezTo>
                      <a:cubicBezTo>
                        <a:pt x="950" y="9"/>
                        <a:pt x="970" y="9"/>
                        <a:pt x="993" y="9"/>
                      </a:cubicBezTo>
                      <a:close/>
                      <a:moveTo>
                        <a:pt x="1073" y="9"/>
                      </a:moveTo>
                      <a:cubicBezTo>
                        <a:pt x="1070" y="6"/>
                        <a:pt x="1068" y="4"/>
                        <a:pt x="1065" y="0"/>
                      </a:cubicBezTo>
                      <a:cubicBezTo>
                        <a:pt x="1041" y="0"/>
                        <a:pt x="1020" y="0"/>
                        <a:pt x="997" y="1"/>
                      </a:cubicBezTo>
                      <a:cubicBezTo>
                        <a:pt x="1000" y="4"/>
                        <a:pt x="1001" y="6"/>
                        <a:pt x="1004" y="9"/>
                      </a:cubicBezTo>
                      <a:cubicBezTo>
                        <a:pt x="1028" y="9"/>
                        <a:pt x="1049" y="9"/>
                        <a:pt x="1073" y="9"/>
                      </a:cubicBezTo>
                      <a:close/>
                      <a:moveTo>
                        <a:pt x="1162" y="9"/>
                      </a:moveTo>
                      <a:cubicBezTo>
                        <a:pt x="1159" y="6"/>
                        <a:pt x="1157" y="4"/>
                        <a:pt x="1154" y="0"/>
                      </a:cubicBezTo>
                      <a:cubicBezTo>
                        <a:pt x="1127" y="0"/>
                        <a:pt x="1101" y="0"/>
                        <a:pt x="1075" y="0"/>
                      </a:cubicBezTo>
                      <a:cubicBezTo>
                        <a:pt x="1078" y="4"/>
                        <a:pt x="1079" y="6"/>
                        <a:pt x="1083" y="9"/>
                      </a:cubicBezTo>
                      <a:cubicBezTo>
                        <a:pt x="1109" y="9"/>
                        <a:pt x="1136" y="9"/>
                        <a:pt x="1162" y="9"/>
                      </a:cubicBezTo>
                      <a:close/>
                      <a:moveTo>
                        <a:pt x="157" y="31"/>
                      </a:moveTo>
                      <a:cubicBezTo>
                        <a:pt x="164" y="23"/>
                        <a:pt x="167" y="19"/>
                        <a:pt x="174" y="11"/>
                      </a:cubicBezTo>
                      <a:cubicBezTo>
                        <a:pt x="150" y="11"/>
                        <a:pt x="129" y="11"/>
                        <a:pt x="105" y="11"/>
                      </a:cubicBezTo>
                      <a:cubicBezTo>
                        <a:pt x="98" y="19"/>
                        <a:pt x="95" y="23"/>
                        <a:pt x="87" y="31"/>
                      </a:cubicBezTo>
                      <a:cubicBezTo>
                        <a:pt x="111" y="31"/>
                        <a:pt x="133" y="31"/>
                        <a:pt x="157" y="31"/>
                      </a:cubicBezTo>
                      <a:close/>
                      <a:moveTo>
                        <a:pt x="182" y="11"/>
                      </a:moveTo>
                      <a:cubicBezTo>
                        <a:pt x="176" y="19"/>
                        <a:pt x="173" y="23"/>
                        <a:pt x="166" y="31"/>
                      </a:cubicBezTo>
                      <a:cubicBezTo>
                        <a:pt x="190" y="31"/>
                        <a:pt x="212" y="31"/>
                        <a:pt x="236" y="31"/>
                      </a:cubicBezTo>
                      <a:cubicBezTo>
                        <a:pt x="242" y="23"/>
                        <a:pt x="245" y="19"/>
                        <a:pt x="251" y="11"/>
                      </a:cubicBezTo>
                      <a:cubicBezTo>
                        <a:pt x="227" y="11"/>
                        <a:pt x="206" y="11"/>
                        <a:pt x="182" y="11"/>
                      </a:cubicBezTo>
                      <a:close/>
                      <a:moveTo>
                        <a:pt x="260" y="11"/>
                      </a:moveTo>
                      <a:cubicBezTo>
                        <a:pt x="255" y="19"/>
                        <a:pt x="252" y="23"/>
                        <a:pt x="246" y="31"/>
                      </a:cubicBezTo>
                      <a:cubicBezTo>
                        <a:pt x="269" y="31"/>
                        <a:pt x="290" y="31"/>
                        <a:pt x="314" y="31"/>
                      </a:cubicBezTo>
                      <a:cubicBezTo>
                        <a:pt x="319" y="23"/>
                        <a:pt x="322" y="19"/>
                        <a:pt x="327" y="11"/>
                      </a:cubicBezTo>
                      <a:cubicBezTo>
                        <a:pt x="304" y="11"/>
                        <a:pt x="283" y="11"/>
                        <a:pt x="260" y="11"/>
                      </a:cubicBezTo>
                      <a:close/>
                      <a:moveTo>
                        <a:pt x="401" y="11"/>
                      </a:moveTo>
                      <a:cubicBezTo>
                        <a:pt x="379" y="11"/>
                        <a:pt x="359" y="11"/>
                        <a:pt x="337" y="11"/>
                      </a:cubicBezTo>
                      <a:cubicBezTo>
                        <a:pt x="332" y="19"/>
                        <a:pt x="329" y="23"/>
                        <a:pt x="324" y="31"/>
                      </a:cubicBezTo>
                      <a:cubicBezTo>
                        <a:pt x="347" y="31"/>
                        <a:pt x="368" y="31"/>
                        <a:pt x="391" y="31"/>
                      </a:cubicBezTo>
                      <a:cubicBezTo>
                        <a:pt x="395" y="23"/>
                        <a:pt x="397" y="19"/>
                        <a:pt x="401" y="11"/>
                      </a:cubicBezTo>
                      <a:close/>
                      <a:moveTo>
                        <a:pt x="400" y="31"/>
                      </a:moveTo>
                      <a:cubicBezTo>
                        <a:pt x="423" y="31"/>
                        <a:pt x="443" y="31"/>
                        <a:pt x="466" y="31"/>
                      </a:cubicBezTo>
                      <a:cubicBezTo>
                        <a:pt x="469" y="23"/>
                        <a:pt x="470" y="19"/>
                        <a:pt x="473" y="11"/>
                      </a:cubicBezTo>
                      <a:cubicBezTo>
                        <a:pt x="451" y="11"/>
                        <a:pt x="432" y="11"/>
                        <a:pt x="410" y="11"/>
                      </a:cubicBezTo>
                      <a:cubicBezTo>
                        <a:pt x="406" y="19"/>
                        <a:pt x="404" y="23"/>
                        <a:pt x="400" y="31"/>
                      </a:cubicBezTo>
                      <a:close/>
                      <a:moveTo>
                        <a:pt x="475" y="31"/>
                      </a:moveTo>
                      <a:cubicBezTo>
                        <a:pt x="498" y="31"/>
                        <a:pt x="518" y="31"/>
                        <a:pt x="540" y="31"/>
                      </a:cubicBezTo>
                      <a:cubicBezTo>
                        <a:pt x="542" y="23"/>
                        <a:pt x="542" y="19"/>
                        <a:pt x="544" y="11"/>
                      </a:cubicBezTo>
                      <a:cubicBezTo>
                        <a:pt x="522" y="11"/>
                        <a:pt x="503" y="11"/>
                        <a:pt x="482" y="11"/>
                      </a:cubicBezTo>
                      <a:cubicBezTo>
                        <a:pt x="479" y="19"/>
                        <a:pt x="478" y="23"/>
                        <a:pt x="475" y="31"/>
                      </a:cubicBezTo>
                      <a:close/>
                      <a:moveTo>
                        <a:pt x="549" y="31"/>
                      </a:moveTo>
                      <a:cubicBezTo>
                        <a:pt x="571" y="31"/>
                        <a:pt x="591" y="31"/>
                        <a:pt x="613" y="31"/>
                      </a:cubicBezTo>
                      <a:cubicBezTo>
                        <a:pt x="613" y="23"/>
                        <a:pt x="613" y="19"/>
                        <a:pt x="613" y="11"/>
                      </a:cubicBezTo>
                      <a:cubicBezTo>
                        <a:pt x="592" y="11"/>
                        <a:pt x="573" y="11"/>
                        <a:pt x="552" y="11"/>
                      </a:cubicBezTo>
                      <a:cubicBezTo>
                        <a:pt x="551" y="19"/>
                        <a:pt x="550" y="23"/>
                        <a:pt x="549" y="31"/>
                      </a:cubicBezTo>
                      <a:close/>
                      <a:moveTo>
                        <a:pt x="622" y="11"/>
                      </a:moveTo>
                      <a:cubicBezTo>
                        <a:pt x="622" y="19"/>
                        <a:pt x="622" y="23"/>
                        <a:pt x="622" y="31"/>
                      </a:cubicBezTo>
                      <a:cubicBezTo>
                        <a:pt x="644" y="31"/>
                        <a:pt x="664" y="31"/>
                        <a:pt x="686" y="31"/>
                      </a:cubicBezTo>
                      <a:cubicBezTo>
                        <a:pt x="685" y="23"/>
                        <a:pt x="685" y="19"/>
                        <a:pt x="683" y="11"/>
                      </a:cubicBezTo>
                      <a:cubicBezTo>
                        <a:pt x="662" y="11"/>
                        <a:pt x="643" y="11"/>
                        <a:pt x="622" y="11"/>
                      </a:cubicBezTo>
                      <a:close/>
                      <a:moveTo>
                        <a:pt x="693" y="11"/>
                      </a:moveTo>
                      <a:cubicBezTo>
                        <a:pt x="694" y="19"/>
                        <a:pt x="695" y="23"/>
                        <a:pt x="696" y="31"/>
                      </a:cubicBezTo>
                      <a:cubicBezTo>
                        <a:pt x="718" y="31"/>
                        <a:pt x="738" y="31"/>
                        <a:pt x="761" y="31"/>
                      </a:cubicBezTo>
                      <a:cubicBezTo>
                        <a:pt x="758" y="23"/>
                        <a:pt x="757" y="19"/>
                        <a:pt x="754" y="11"/>
                      </a:cubicBezTo>
                      <a:cubicBezTo>
                        <a:pt x="733" y="11"/>
                        <a:pt x="714" y="11"/>
                        <a:pt x="693" y="11"/>
                      </a:cubicBezTo>
                      <a:close/>
                      <a:moveTo>
                        <a:pt x="824" y="12"/>
                      </a:moveTo>
                      <a:cubicBezTo>
                        <a:pt x="802" y="11"/>
                        <a:pt x="783" y="11"/>
                        <a:pt x="762" y="11"/>
                      </a:cubicBezTo>
                      <a:cubicBezTo>
                        <a:pt x="764" y="19"/>
                        <a:pt x="766" y="23"/>
                        <a:pt x="768" y="31"/>
                      </a:cubicBezTo>
                      <a:cubicBezTo>
                        <a:pt x="791" y="31"/>
                        <a:pt x="811" y="31"/>
                        <a:pt x="833" y="31"/>
                      </a:cubicBezTo>
                      <a:cubicBezTo>
                        <a:pt x="830" y="23"/>
                        <a:pt x="828" y="19"/>
                        <a:pt x="824" y="12"/>
                      </a:cubicBezTo>
                      <a:close/>
                      <a:moveTo>
                        <a:pt x="833" y="12"/>
                      </a:moveTo>
                      <a:cubicBezTo>
                        <a:pt x="837" y="19"/>
                        <a:pt x="839" y="23"/>
                        <a:pt x="843" y="31"/>
                      </a:cubicBezTo>
                      <a:cubicBezTo>
                        <a:pt x="866" y="31"/>
                        <a:pt x="886" y="31"/>
                        <a:pt x="909" y="31"/>
                      </a:cubicBezTo>
                      <a:cubicBezTo>
                        <a:pt x="904" y="23"/>
                        <a:pt x="902" y="19"/>
                        <a:pt x="897" y="12"/>
                      </a:cubicBezTo>
                      <a:cubicBezTo>
                        <a:pt x="875" y="12"/>
                        <a:pt x="855" y="12"/>
                        <a:pt x="833" y="12"/>
                      </a:cubicBezTo>
                      <a:close/>
                      <a:moveTo>
                        <a:pt x="905" y="12"/>
                      </a:moveTo>
                      <a:cubicBezTo>
                        <a:pt x="910" y="19"/>
                        <a:pt x="913" y="23"/>
                        <a:pt x="918" y="31"/>
                      </a:cubicBezTo>
                      <a:cubicBezTo>
                        <a:pt x="941" y="31"/>
                        <a:pt x="962" y="31"/>
                        <a:pt x="985" y="31"/>
                      </a:cubicBezTo>
                      <a:cubicBezTo>
                        <a:pt x="979" y="23"/>
                        <a:pt x="977" y="19"/>
                        <a:pt x="971" y="12"/>
                      </a:cubicBezTo>
                      <a:cubicBezTo>
                        <a:pt x="948" y="12"/>
                        <a:pt x="928" y="12"/>
                        <a:pt x="905" y="12"/>
                      </a:cubicBezTo>
                      <a:close/>
                      <a:moveTo>
                        <a:pt x="980" y="12"/>
                      </a:moveTo>
                      <a:cubicBezTo>
                        <a:pt x="986" y="19"/>
                        <a:pt x="989" y="23"/>
                        <a:pt x="995" y="31"/>
                      </a:cubicBezTo>
                      <a:cubicBezTo>
                        <a:pt x="1019" y="31"/>
                        <a:pt x="1040" y="31"/>
                        <a:pt x="1064" y="31"/>
                      </a:cubicBezTo>
                      <a:cubicBezTo>
                        <a:pt x="1057" y="23"/>
                        <a:pt x="1054" y="19"/>
                        <a:pt x="1047" y="12"/>
                      </a:cubicBezTo>
                      <a:cubicBezTo>
                        <a:pt x="1024" y="12"/>
                        <a:pt x="1003" y="12"/>
                        <a:pt x="980" y="12"/>
                      </a:cubicBezTo>
                      <a:close/>
                      <a:moveTo>
                        <a:pt x="1074" y="31"/>
                      </a:moveTo>
                      <a:cubicBezTo>
                        <a:pt x="1110" y="31"/>
                        <a:pt x="1147" y="31"/>
                        <a:pt x="1184" y="31"/>
                      </a:cubicBezTo>
                      <a:cubicBezTo>
                        <a:pt x="1176" y="23"/>
                        <a:pt x="1172" y="19"/>
                        <a:pt x="1165" y="12"/>
                      </a:cubicBezTo>
                      <a:cubicBezTo>
                        <a:pt x="1129" y="12"/>
                        <a:pt x="1093" y="12"/>
                        <a:pt x="1057" y="12"/>
                      </a:cubicBezTo>
                      <a:cubicBezTo>
                        <a:pt x="1063" y="19"/>
                        <a:pt x="1067" y="23"/>
                        <a:pt x="1074" y="31"/>
                      </a:cubicBezTo>
                      <a:close/>
                      <a:moveTo>
                        <a:pt x="194" y="32"/>
                      </a:moveTo>
                      <a:cubicBezTo>
                        <a:pt x="158" y="32"/>
                        <a:pt x="122" y="32"/>
                        <a:pt x="86" y="32"/>
                      </a:cubicBezTo>
                      <a:cubicBezTo>
                        <a:pt x="78" y="40"/>
                        <a:pt x="74" y="45"/>
                        <a:pt x="67" y="53"/>
                      </a:cubicBezTo>
                      <a:cubicBezTo>
                        <a:pt x="103" y="53"/>
                        <a:pt x="140" y="53"/>
                        <a:pt x="177" y="53"/>
                      </a:cubicBezTo>
                      <a:cubicBezTo>
                        <a:pt x="184" y="45"/>
                        <a:pt x="187" y="40"/>
                        <a:pt x="194" y="32"/>
                      </a:cubicBezTo>
                      <a:close/>
                      <a:moveTo>
                        <a:pt x="257" y="53"/>
                      </a:moveTo>
                      <a:cubicBezTo>
                        <a:pt x="263" y="45"/>
                        <a:pt x="266" y="41"/>
                        <a:pt x="272" y="33"/>
                      </a:cubicBezTo>
                      <a:cubicBezTo>
                        <a:pt x="248" y="33"/>
                        <a:pt x="227" y="33"/>
                        <a:pt x="203" y="33"/>
                      </a:cubicBezTo>
                      <a:cubicBezTo>
                        <a:pt x="196" y="41"/>
                        <a:pt x="193" y="45"/>
                        <a:pt x="186" y="53"/>
                      </a:cubicBezTo>
                      <a:cubicBezTo>
                        <a:pt x="211" y="53"/>
                        <a:pt x="233" y="53"/>
                        <a:pt x="257" y="53"/>
                      </a:cubicBezTo>
                      <a:close/>
                      <a:moveTo>
                        <a:pt x="267" y="53"/>
                      </a:moveTo>
                      <a:cubicBezTo>
                        <a:pt x="292" y="53"/>
                        <a:pt x="313" y="53"/>
                        <a:pt x="337" y="53"/>
                      </a:cubicBezTo>
                      <a:cubicBezTo>
                        <a:pt x="342" y="45"/>
                        <a:pt x="345" y="41"/>
                        <a:pt x="350" y="33"/>
                      </a:cubicBezTo>
                      <a:cubicBezTo>
                        <a:pt x="326" y="33"/>
                        <a:pt x="305" y="33"/>
                        <a:pt x="282" y="33"/>
                      </a:cubicBezTo>
                      <a:cubicBezTo>
                        <a:pt x="276" y="41"/>
                        <a:pt x="273" y="45"/>
                        <a:pt x="267" y="53"/>
                      </a:cubicBezTo>
                      <a:close/>
                      <a:moveTo>
                        <a:pt x="426" y="33"/>
                      </a:moveTo>
                      <a:cubicBezTo>
                        <a:pt x="403" y="33"/>
                        <a:pt x="383" y="33"/>
                        <a:pt x="360" y="33"/>
                      </a:cubicBezTo>
                      <a:cubicBezTo>
                        <a:pt x="355" y="41"/>
                        <a:pt x="353" y="45"/>
                        <a:pt x="348" y="53"/>
                      </a:cubicBezTo>
                      <a:cubicBezTo>
                        <a:pt x="372" y="53"/>
                        <a:pt x="393" y="53"/>
                        <a:pt x="417" y="53"/>
                      </a:cubicBezTo>
                      <a:cubicBezTo>
                        <a:pt x="421" y="45"/>
                        <a:pt x="422" y="41"/>
                        <a:pt x="426" y="33"/>
                      </a:cubicBezTo>
                      <a:close/>
                      <a:moveTo>
                        <a:pt x="427" y="53"/>
                      </a:moveTo>
                      <a:cubicBezTo>
                        <a:pt x="450" y="53"/>
                        <a:pt x="471" y="53"/>
                        <a:pt x="495" y="53"/>
                      </a:cubicBezTo>
                      <a:cubicBezTo>
                        <a:pt x="497" y="45"/>
                        <a:pt x="498" y="41"/>
                        <a:pt x="501" y="33"/>
                      </a:cubicBezTo>
                      <a:cubicBezTo>
                        <a:pt x="478" y="33"/>
                        <a:pt x="458" y="33"/>
                        <a:pt x="435" y="33"/>
                      </a:cubicBezTo>
                      <a:cubicBezTo>
                        <a:pt x="432" y="41"/>
                        <a:pt x="430" y="45"/>
                        <a:pt x="427" y="53"/>
                      </a:cubicBezTo>
                      <a:close/>
                      <a:moveTo>
                        <a:pt x="505" y="53"/>
                      </a:moveTo>
                      <a:cubicBezTo>
                        <a:pt x="528" y="53"/>
                        <a:pt x="549" y="53"/>
                        <a:pt x="572" y="53"/>
                      </a:cubicBezTo>
                      <a:cubicBezTo>
                        <a:pt x="573" y="45"/>
                        <a:pt x="574" y="41"/>
                        <a:pt x="575" y="33"/>
                      </a:cubicBezTo>
                      <a:cubicBezTo>
                        <a:pt x="553" y="33"/>
                        <a:pt x="533" y="33"/>
                        <a:pt x="510" y="33"/>
                      </a:cubicBezTo>
                      <a:cubicBezTo>
                        <a:pt x="508" y="41"/>
                        <a:pt x="507" y="45"/>
                        <a:pt x="505" y="53"/>
                      </a:cubicBezTo>
                      <a:close/>
                      <a:moveTo>
                        <a:pt x="581" y="53"/>
                      </a:moveTo>
                      <a:cubicBezTo>
                        <a:pt x="605" y="53"/>
                        <a:pt x="625" y="53"/>
                        <a:pt x="649" y="53"/>
                      </a:cubicBezTo>
                      <a:cubicBezTo>
                        <a:pt x="649" y="45"/>
                        <a:pt x="648" y="41"/>
                        <a:pt x="648" y="33"/>
                      </a:cubicBezTo>
                      <a:cubicBezTo>
                        <a:pt x="626" y="33"/>
                        <a:pt x="606" y="33"/>
                        <a:pt x="584" y="33"/>
                      </a:cubicBezTo>
                      <a:cubicBezTo>
                        <a:pt x="583" y="41"/>
                        <a:pt x="582" y="45"/>
                        <a:pt x="581" y="53"/>
                      </a:cubicBezTo>
                      <a:close/>
                      <a:moveTo>
                        <a:pt x="658" y="53"/>
                      </a:moveTo>
                      <a:cubicBezTo>
                        <a:pt x="682" y="53"/>
                        <a:pt x="703" y="53"/>
                        <a:pt x="726" y="53"/>
                      </a:cubicBezTo>
                      <a:cubicBezTo>
                        <a:pt x="724" y="45"/>
                        <a:pt x="724" y="41"/>
                        <a:pt x="722" y="33"/>
                      </a:cubicBezTo>
                      <a:cubicBezTo>
                        <a:pt x="699" y="33"/>
                        <a:pt x="680" y="33"/>
                        <a:pt x="657" y="33"/>
                      </a:cubicBezTo>
                      <a:cubicBezTo>
                        <a:pt x="658" y="41"/>
                        <a:pt x="658" y="45"/>
                        <a:pt x="658" y="53"/>
                      </a:cubicBezTo>
                      <a:close/>
                      <a:moveTo>
                        <a:pt x="736" y="53"/>
                      </a:moveTo>
                      <a:cubicBezTo>
                        <a:pt x="760" y="53"/>
                        <a:pt x="781" y="53"/>
                        <a:pt x="804" y="53"/>
                      </a:cubicBezTo>
                      <a:cubicBezTo>
                        <a:pt x="801" y="45"/>
                        <a:pt x="800" y="41"/>
                        <a:pt x="797" y="33"/>
                      </a:cubicBezTo>
                      <a:cubicBezTo>
                        <a:pt x="774" y="33"/>
                        <a:pt x="754" y="33"/>
                        <a:pt x="732" y="33"/>
                      </a:cubicBezTo>
                      <a:cubicBezTo>
                        <a:pt x="734" y="41"/>
                        <a:pt x="734" y="45"/>
                        <a:pt x="736" y="53"/>
                      </a:cubicBezTo>
                      <a:close/>
                      <a:moveTo>
                        <a:pt x="870" y="33"/>
                      </a:moveTo>
                      <a:cubicBezTo>
                        <a:pt x="847" y="33"/>
                        <a:pt x="827" y="33"/>
                        <a:pt x="804" y="33"/>
                      </a:cubicBezTo>
                      <a:cubicBezTo>
                        <a:pt x="808" y="41"/>
                        <a:pt x="809" y="45"/>
                        <a:pt x="812" y="53"/>
                      </a:cubicBezTo>
                      <a:cubicBezTo>
                        <a:pt x="836" y="53"/>
                        <a:pt x="857" y="53"/>
                        <a:pt x="881" y="53"/>
                      </a:cubicBezTo>
                      <a:cubicBezTo>
                        <a:pt x="877" y="45"/>
                        <a:pt x="874" y="41"/>
                        <a:pt x="870" y="33"/>
                      </a:cubicBezTo>
                      <a:close/>
                      <a:moveTo>
                        <a:pt x="880" y="33"/>
                      </a:moveTo>
                      <a:cubicBezTo>
                        <a:pt x="884" y="41"/>
                        <a:pt x="886" y="45"/>
                        <a:pt x="891" y="53"/>
                      </a:cubicBezTo>
                      <a:cubicBezTo>
                        <a:pt x="915" y="53"/>
                        <a:pt x="936" y="53"/>
                        <a:pt x="960" y="53"/>
                      </a:cubicBezTo>
                      <a:cubicBezTo>
                        <a:pt x="955" y="45"/>
                        <a:pt x="952" y="41"/>
                        <a:pt x="947" y="33"/>
                      </a:cubicBezTo>
                      <a:cubicBezTo>
                        <a:pt x="924" y="33"/>
                        <a:pt x="903" y="33"/>
                        <a:pt x="880" y="33"/>
                      </a:cubicBezTo>
                      <a:close/>
                      <a:moveTo>
                        <a:pt x="1040" y="53"/>
                      </a:moveTo>
                      <a:cubicBezTo>
                        <a:pt x="1034" y="45"/>
                        <a:pt x="1031" y="41"/>
                        <a:pt x="1024" y="33"/>
                      </a:cubicBezTo>
                      <a:cubicBezTo>
                        <a:pt x="1001" y="33"/>
                        <a:pt x="980" y="33"/>
                        <a:pt x="956" y="33"/>
                      </a:cubicBezTo>
                      <a:cubicBezTo>
                        <a:pt x="961" y="41"/>
                        <a:pt x="964" y="45"/>
                        <a:pt x="970" y="53"/>
                      </a:cubicBezTo>
                      <a:cubicBezTo>
                        <a:pt x="994" y="53"/>
                        <a:pt x="1016" y="53"/>
                        <a:pt x="1040" y="53"/>
                      </a:cubicBezTo>
                      <a:close/>
                      <a:moveTo>
                        <a:pt x="1104" y="33"/>
                      </a:moveTo>
                      <a:cubicBezTo>
                        <a:pt x="1080" y="33"/>
                        <a:pt x="1058" y="33"/>
                        <a:pt x="1034" y="33"/>
                      </a:cubicBezTo>
                      <a:cubicBezTo>
                        <a:pt x="1040" y="41"/>
                        <a:pt x="1044" y="45"/>
                        <a:pt x="1050" y="53"/>
                      </a:cubicBezTo>
                      <a:cubicBezTo>
                        <a:pt x="1075" y="53"/>
                        <a:pt x="1097" y="53"/>
                        <a:pt x="1122" y="53"/>
                      </a:cubicBezTo>
                      <a:cubicBezTo>
                        <a:pt x="1115" y="45"/>
                        <a:pt x="1111" y="41"/>
                        <a:pt x="1104" y="33"/>
                      </a:cubicBezTo>
                      <a:close/>
                      <a:moveTo>
                        <a:pt x="1132" y="53"/>
                      </a:moveTo>
                      <a:cubicBezTo>
                        <a:pt x="1157" y="53"/>
                        <a:pt x="1179" y="53"/>
                        <a:pt x="1204" y="53"/>
                      </a:cubicBezTo>
                      <a:cubicBezTo>
                        <a:pt x="1197" y="45"/>
                        <a:pt x="1193" y="41"/>
                        <a:pt x="1185" y="33"/>
                      </a:cubicBezTo>
                      <a:cubicBezTo>
                        <a:pt x="1160" y="33"/>
                        <a:pt x="1139" y="33"/>
                        <a:pt x="1114" y="33"/>
                      </a:cubicBezTo>
                      <a:cubicBezTo>
                        <a:pt x="1121" y="41"/>
                        <a:pt x="1125" y="45"/>
                        <a:pt x="1132" y="53"/>
                      </a:cubicBezTo>
                      <a:close/>
                      <a:moveTo>
                        <a:pt x="195" y="55"/>
                      </a:moveTo>
                      <a:cubicBezTo>
                        <a:pt x="152" y="55"/>
                        <a:pt x="108" y="55"/>
                        <a:pt x="64" y="55"/>
                      </a:cubicBezTo>
                      <a:cubicBezTo>
                        <a:pt x="57" y="64"/>
                        <a:pt x="53" y="68"/>
                        <a:pt x="44" y="76"/>
                      </a:cubicBezTo>
                      <a:cubicBezTo>
                        <a:pt x="89" y="76"/>
                        <a:pt x="134" y="76"/>
                        <a:pt x="178" y="76"/>
                      </a:cubicBezTo>
                      <a:cubicBezTo>
                        <a:pt x="185" y="68"/>
                        <a:pt x="188" y="63"/>
                        <a:pt x="195" y="55"/>
                      </a:cubicBezTo>
                      <a:close/>
                      <a:moveTo>
                        <a:pt x="261" y="76"/>
                      </a:moveTo>
                      <a:cubicBezTo>
                        <a:pt x="267" y="68"/>
                        <a:pt x="270" y="63"/>
                        <a:pt x="275" y="55"/>
                      </a:cubicBezTo>
                      <a:cubicBezTo>
                        <a:pt x="251" y="55"/>
                        <a:pt x="229" y="55"/>
                        <a:pt x="204" y="55"/>
                      </a:cubicBezTo>
                      <a:cubicBezTo>
                        <a:pt x="197" y="63"/>
                        <a:pt x="194" y="68"/>
                        <a:pt x="187" y="76"/>
                      </a:cubicBezTo>
                      <a:cubicBezTo>
                        <a:pt x="213" y="76"/>
                        <a:pt x="235" y="76"/>
                        <a:pt x="261" y="76"/>
                      </a:cubicBezTo>
                      <a:close/>
                      <a:moveTo>
                        <a:pt x="355" y="55"/>
                      </a:moveTo>
                      <a:cubicBezTo>
                        <a:pt x="331" y="55"/>
                        <a:pt x="310" y="55"/>
                        <a:pt x="285" y="55"/>
                      </a:cubicBezTo>
                      <a:cubicBezTo>
                        <a:pt x="280" y="63"/>
                        <a:pt x="277" y="68"/>
                        <a:pt x="271" y="76"/>
                      </a:cubicBezTo>
                      <a:cubicBezTo>
                        <a:pt x="296" y="76"/>
                        <a:pt x="318" y="76"/>
                        <a:pt x="343" y="76"/>
                      </a:cubicBezTo>
                      <a:cubicBezTo>
                        <a:pt x="348" y="68"/>
                        <a:pt x="351" y="63"/>
                        <a:pt x="355" y="55"/>
                      </a:cubicBezTo>
                      <a:close/>
                      <a:moveTo>
                        <a:pt x="435" y="55"/>
                      </a:moveTo>
                      <a:cubicBezTo>
                        <a:pt x="411" y="55"/>
                        <a:pt x="390" y="55"/>
                        <a:pt x="366" y="55"/>
                      </a:cubicBezTo>
                      <a:cubicBezTo>
                        <a:pt x="361" y="63"/>
                        <a:pt x="359" y="68"/>
                        <a:pt x="354" y="76"/>
                      </a:cubicBezTo>
                      <a:cubicBezTo>
                        <a:pt x="379" y="76"/>
                        <a:pt x="401" y="76"/>
                        <a:pt x="426" y="76"/>
                      </a:cubicBezTo>
                      <a:cubicBezTo>
                        <a:pt x="430" y="68"/>
                        <a:pt x="431" y="63"/>
                        <a:pt x="435" y="55"/>
                      </a:cubicBezTo>
                      <a:close/>
                      <a:moveTo>
                        <a:pt x="513" y="55"/>
                      </a:moveTo>
                      <a:cubicBezTo>
                        <a:pt x="489" y="55"/>
                        <a:pt x="468" y="55"/>
                        <a:pt x="445" y="55"/>
                      </a:cubicBezTo>
                      <a:cubicBezTo>
                        <a:pt x="441" y="63"/>
                        <a:pt x="440" y="68"/>
                        <a:pt x="436" y="76"/>
                      </a:cubicBezTo>
                      <a:cubicBezTo>
                        <a:pt x="461" y="76"/>
                        <a:pt x="483" y="76"/>
                        <a:pt x="507" y="76"/>
                      </a:cubicBezTo>
                      <a:cubicBezTo>
                        <a:pt x="510" y="67"/>
                        <a:pt x="511" y="63"/>
                        <a:pt x="513" y="55"/>
                      </a:cubicBezTo>
                      <a:close/>
                      <a:moveTo>
                        <a:pt x="591" y="55"/>
                      </a:moveTo>
                      <a:cubicBezTo>
                        <a:pt x="567" y="55"/>
                        <a:pt x="546" y="55"/>
                        <a:pt x="523" y="55"/>
                      </a:cubicBezTo>
                      <a:cubicBezTo>
                        <a:pt x="521" y="63"/>
                        <a:pt x="520" y="67"/>
                        <a:pt x="518" y="76"/>
                      </a:cubicBezTo>
                      <a:cubicBezTo>
                        <a:pt x="542" y="76"/>
                        <a:pt x="564" y="76"/>
                        <a:pt x="589" y="76"/>
                      </a:cubicBezTo>
                      <a:cubicBezTo>
                        <a:pt x="590" y="67"/>
                        <a:pt x="590" y="63"/>
                        <a:pt x="591" y="55"/>
                      </a:cubicBezTo>
                      <a:close/>
                      <a:moveTo>
                        <a:pt x="668" y="55"/>
                      </a:moveTo>
                      <a:cubicBezTo>
                        <a:pt x="644" y="55"/>
                        <a:pt x="623" y="55"/>
                        <a:pt x="600" y="55"/>
                      </a:cubicBezTo>
                      <a:cubicBezTo>
                        <a:pt x="599" y="63"/>
                        <a:pt x="599" y="67"/>
                        <a:pt x="598" y="76"/>
                      </a:cubicBezTo>
                      <a:cubicBezTo>
                        <a:pt x="623" y="76"/>
                        <a:pt x="645" y="76"/>
                        <a:pt x="669" y="76"/>
                      </a:cubicBezTo>
                      <a:cubicBezTo>
                        <a:pt x="669" y="67"/>
                        <a:pt x="668" y="63"/>
                        <a:pt x="668" y="55"/>
                      </a:cubicBezTo>
                      <a:close/>
                      <a:moveTo>
                        <a:pt x="745" y="55"/>
                      </a:moveTo>
                      <a:cubicBezTo>
                        <a:pt x="722" y="55"/>
                        <a:pt x="701" y="55"/>
                        <a:pt x="677" y="55"/>
                      </a:cubicBezTo>
                      <a:cubicBezTo>
                        <a:pt x="678" y="63"/>
                        <a:pt x="679" y="67"/>
                        <a:pt x="679" y="76"/>
                      </a:cubicBezTo>
                      <a:cubicBezTo>
                        <a:pt x="704" y="76"/>
                        <a:pt x="726" y="76"/>
                        <a:pt x="750" y="76"/>
                      </a:cubicBezTo>
                      <a:cubicBezTo>
                        <a:pt x="748" y="67"/>
                        <a:pt x="747" y="63"/>
                        <a:pt x="745" y="55"/>
                      </a:cubicBezTo>
                      <a:close/>
                      <a:moveTo>
                        <a:pt x="824" y="55"/>
                      </a:moveTo>
                      <a:cubicBezTo>
                        <a:pt x="800" y="55"/>
                        <a:pt x="779" y="55"/>
                        <a:pt x="756" y="55"/>
                      </a:cubicBezTo>
                      <a:cubicBezTo>
                        <a:pt x="758" y="63"/>
                        <a:pt x="759" y="67"/>
                        <a:pt x="761" y="76"/>
                      </a:cubicBezTo>
                      <a:cubicBezTo>
                        <a:pt x="786" y="76"/>
                        <a:pt x="808" y="76"/>
                        <a:pt x="832" y="76"/>
                      </a:cubicBezTo>
                      <a:cubicBezTo>
                        <a:pt x="829" y="67"/>
                        <a:pt x="827" y="63"/>
                        <a:pt x="824" y="55"/>
                      </a:cubicBezTo>
                      <a:close/>
                      <a:moveTo>
                        <a:pt x="912" y="75"/>
                      </a:moveTo>
                      <a:cubicBezTo>
                        <a:pt x="908" y="67"/>
                        <a:pt x="906" y="63"/>
                        <a:pt x="901" y="55"/>
                      </a:cubicBezTo>
                      <a:cubicBezTo>
                        <a:pt x="877" y="55"/>
                        <a:pt x="856" y="55"/>
                        <a:pt x="832" y="55"/>
                      </a:cubicBezTo>
                      <a:cubicBezTo>
                        <a:pt x="836" y="63"/>
                        <a:pt x="837" y="67"/>
                        <a:pt x="841" y="76"/>
                      </a:cubicBezTo>
                      <a:cubicBezTo>
                        <a:pt x="866" y="76"/>
                        <a:pt x="888" y="75"/>
                        <a:pt x="912" y="75"/>
                      </a:cubicBezTo>
                      <a:close/>
                      <a:moveTo>
                        <a:pt x="981" y="55"/>
                      </a:moveTo>
                      <a:cubicBezTo>
                        <a:pt x="957" y="55"/>
                        <a:pt x="935" y="55"/>
                        <a:pt x="911" y="55"/>
                      </a:cubicBezTo>
                      <a:cubicBezTo>
                        <a:pt x="916" y="63"/>
                        <a:pt x="918" y="67"/>
                        <a:pt x="923" y="75"/>
                      </a:cubicBezTo>
                      <a:cubicBezTo>
                        <a:pt x="948" y="75"/>
                        <a:pt x="970" y="75"/>
                        <a:pt x="995" y="75"/>
                      </a:cubicBezTo>
                      <a:cubicBezTo>
                        <a:pt x="990" y="67"/>
                        <a:pt x="987" y="63"/>
                        <a:pt x="981" y="55"/>
                      </a:cubicBezTo>
                      <a:close/>
                      <a:moveTo>
                        <a:pt x="1078" y="75"/>
                      </a:moveTo>
                      <a:cubicBezTo>
                        <a:pt x="1072" y="67"/>
                        <a:pt x="1068" y="63"/>
                        <a:pt x="1062" y="55"/>
                      </a:cubicBezTo>
                      <a:cubicBezTo>
                        <a:pt x="1037" y="55"/>
                        <a:pt x="1015" y="55"/>
                        <a:pt x="990" y="55"/>
                      </a:cubicBezTo>
                      <a:cubicBezTo>
                        <a:pt x="996" y="63"/>
                        <a:pt x="999" y="67"/>
                        <a:pt x="1005" y="75"/>
                      </a:cubicBezTo>
                      <a:cubicBezTo>
                        <a:pt x="1030" y="75"/>
                        <a:pt x="1053" y="75"/>
                        <a:pt x="1078" y="75"/>
                      </a:cubicBezTo>
                      <a:close/>
                      <a:moveTo>
                        <a:pt x="1088" y="75"/>
                      </a:moveTo>
                      <a:cubicBezTo>
                        <a:pt x="1134" y="75"/>
                        <a:pt x="1180" y="75"/>
                        <a:pt x="1226" y="75"/>
                      </a:cubicBezTo>
                      <a:cubicBezTo>
                        <a:pt x="1218" y="67"/>
                        <a:pt x="1214" y="63"/>
                        <a:pt x="1207" y="55"/>
                      </a:cubicBezTo>
                      <a:cubicBezTo>
                        <a:pt x="1162" y="55"/>
                        <a:pt x="1117" y="55"/>
                        <a:pt x="1072" y="55"/>
                      </a:cubicBezTo>
                      <a:cubicBezTo>
                        <a:pt x="1078" y="63"/>
                        <a:pt x="1082" y="67"/>
                        <a:pt x="1088" y="75"/>
                      </a:cubicBezTo>
                      <a:close/>
                      <a:moveTo>
                        <a:pt x="221" y="78"/>
                      </a:moveTo>
                      <a:cubicBezTo>
                        <a:pt x="161" y="78"/>
                        <a:pt x="102" y="78"/>
                        <a:pt x="43" y="79"/>
                      </a:cubicBezTo>
                      <a:cubicBezTo>
                        <a:pt x="34" y="87"/>
                        <a:pt x="30" y="92"/>
                        <a:pt x="22" y="100"/>
                      </a:cubicBezTo>
                      <a:cubicBezTo>
                        <a:pt x="83" y="100"/>
                        <a:pt x="144" y="100"/>
                        <a:pt x="204" y="100"/>
                      </a:cubicBezTo>
                      <a:cubicBezTo>
                        <a:pt x="211" y="91"/>
                        <a:pt x="214" y="87"/>
                        <a:pt x="221" y="78"/>
                      </a:cubicBezTo>
                      <a:close/>
                      <a:moveTo>
                        <a:pt x="289" y="100"/>
                      </a:moveTo>
                      <a:cubicBezTo>
                        <a:pt x="295" y="91"/>
                        <a:pt x="297" y="87"/>
                        <a:pt x="303" y="78"/>
                      </a:cubicBezTo>
                      <a:cubicBezTo>
                        <a:pt x="277" y="78"/>
                        <a:pt x="255" y="78"/>
                        <a:pt x="230" y="78"/>
                      </a:cubicBezTo>
                      <a:cubicBezTo>
                        <a:pt x="223" y="87"/>
                        <a:pt x="220" y="91"/>
                        <a:pt x="214" y="100"/>
                      </a:cubicBezTo>
                      <a:cubicBezTo>
                        <a:pt x="240" y="100"/>
                        <a:pt x="263" y="100"/>
                        <a:pt x="289" y="100"/>
                      </a:cubicBezTo>
                      <a:close/>
                      <a:moveTo>
                        <a:pt x="313" y="78"/>
                      </a:moveTo>
                      <a:cubicBezTo>
                        <a:pt x="308" y="87"/>
                        <a:pt x="305" y="91"/>
                        <a:pt x="300" y="99"/>
                      </a:cubicBezTo>
                      <a:cubicBezTo>
                        <a:pt x="326" y="99"/>
                        <a:pt x="349" y="99"/>
                        <a:pt x="375" y="99"/>
                      </a:cubicBezTo>
                      <a:cubicBezTo>
                        <a:pt x="379" y="91"/>
                        <a:pt x="381" y="87"/>
                        <a:pt x="385" y="78"/>
                      </a:cubicBezTo>
                      <a:cubicBezTo>
                        <a:pt x="360" y="78"/>
                        <a:pt x="338" y="78"/>
                        <a:pt x="313" y="78"/>
                      </a:cubicBezTo>
                      <a:close/>
                      <a:moveTo>
                        <a:pt x="468" y="78"/>
                      </a:moveTo>
                      <a:cubicBezTo>
                        <a:pt x="443" y="78"/>
                        <a:pt x="421" y="78"/>
                        <a:pt x="396" y="78"/>
                      </a:cubicBezTo>
                      <a:cubicBezTo>
                        <a:pt x="392" y="87"/>
                        <a:pt x="390" y="91"/>
                        <a:pt x="386" y="99"/>
                      </a:cubicBezTo>
                      <a:cubicBezTo>
                        <a:pt x="412" y="99"/>
                        <a:pt x="435" y="99"/>
                        <a:pt x="461" y="99"/>
                      </a:cubicBezTo>
                      <a:cubicBezTo>
                        <a:pt x="464" y="91"/>
                        <a:pt x="465" y="87"/>
                        <a:pt x="468" y="78"/>
                      </a:cubicBezTo>
                      <a:close/>
                      <a:moveTo>
                        <a:pt x="550" y="78"/>
                      </a:moveTo>
                      <a:cubicBezTo>
                        <a:pt x="525" y="78"/>
                        <a:pt x="503" y="78"/>
                        <a:pt x="478" y="78"/>
                      </a:cubicBezTo>
                      <a:cubicBezTo>
                        <a:pt x="475" y="87"/>
                        <a:pt x="474" y="91"/>
                        <a:pt x="471" y="99"/>
                      </a:cubicBezTo>
                      <a:cubicBezTo>
                        <a:pt x="497" y="99"/>
                        <a:pt x="520" y="99"/>
                        <a:pt x="546" y="99"/>
                      </a:cubicBezTo>
                      <a:cubicBezTo>
                        <a:pt x="547" y="91"/>
                        <a:pt x="548" y="86"/>
                        <a:pt x="550" y="78"/>
                      </a:cubicBezTo>
                      <a:close/>
                      <a:moveTo>
                        <a:pt x="560" y="78"/>
                      </a:moveTo>
                      <a:cubicBezTo>
                        <a:pt x="559" y="86"/>
                        <a:pt x="558" y="91"/>
                        <a:pt x="557" y="99"/>
                      </a:cubicBezTo>
                      <a:cubicBezTo>
                        <a:pt x="583" y="99"/>
                        <a:pt x="605" y="99"/>
                        <a:pt x="631" y="99"/>
                      </a:cubicBezTo>
                      <a:cubicBezTo>
                        <a:pt x="631" y="91"/>
                        <a:pt x="631" y="86"/>
                        <a:pt x="631" y="78"/>
                      </a:cubicBezTo>
                      <a:cubicBezTo>
                        <a:pt x="607" y="78"/>
                        <a:pt x="585" y="78"/>
                        <a:pt x="560" y="78"/>
                      </a:cubicBezTo>
                      <a:close/>
                      <a:moveTo>
                        <a:pt x="715" y="99"/>
                      </a:moveTo>
                      <a:cubicBezTo>
                        <a:pt x="714" y="90"/>
                        <a:pt x="713" y="86"/>
                        <a:pt x="712" y="78"/>
                      </a:cubicBezTo>
                      <a:cubicBezTo>
                        <a:pt x="687" y="78"/>
                        <a:pt x="665" y="78"/>
                        <a:pt x="641" y="78"/>
                      </a:cubicBezTo>
                      <a:cubicBezTo>
                        <a:pt x="641" y="86"/>
                        <a:pt x="641" y="91"/>
                        <a:pt x="641" y="99"/>
                      </a:cubicBezTo>
                      <a:cubicBezTo>
                        <a:pt x="667" y="99"/>
                        <a:pt x="690" y="99"/>
                        <a:pt x="715" y="99"/>
                      </a:cubicBezTo>
                      <a:close/>
                      <a:moveTo>
                        <a:pt x="801" y="99"/>
                      </a:moveTo>
                      <a:cubicBezTo>
                        <a:pt x="798" y="90"/>
                        <a:pt x="796" y="86"/>
                        <a:pt x="794" y="78"/>
                      </a:cubicBezTo>
                      <a:cubicBezTo>
                        <a:pt x="769" y="78"/>
                        <a:pt x="747" y="78"/>
                        <a:pt x="722" y="78"/>
                      </a:cubicBezTo>
                      <a:cubicBezTo>
                        <a:pt x="724" y="86"/>
                        <a:pt x="725" y="90"/>
                        <a:pt x="726" y="99"/>
                      </a:cubicBezTo>
                      <a:cubicBezTo>
                        <a:pt x="752" y="99"/>
                        <a:pt x="775" y="99"/>
                        <a:pt x="801" y="99"/>
                      </a:cubicBezTo>
                      <a:close/>
                      <a:moveTo>
                        <a:pt x="887" y="98"/>
                      </a:moveTo>
                      <a:cubicBezTo>
                        <a:pt x="882" y="90"/>
                        <a:pt x="880" y="86"/>
                        <a:pt x="876" y="78"/>
                      </a:cubicBezTo>
                      <a:cubicBezTo>
                        <a:pt x="851" y="78"/>
                        <a:pt x="829" y="78"/>
                        <a:pt x="804" y="78"/>
                      </a:cubicBezTo>
                      <a:cubicBezTo>
                        <a:pt x="807" y="86"/>
                        <a:pt x="809" y="90"/>
                        <a:pt x="812" y="99"/>
                      </a:cubicBezTo>
                      <a:cubicBezTo>
                        <a:pt x="838" y="99"/>
                        <a:pt x="861" y="98"/>
                        <a:pt x="887" y="98"/>
                      </a:cubicBezTo>
                      <a:close/>
                      <a:moveTo>
                        <a:pt x="970" y="98"/>
                      </a:moveTo>
                      <a:cubicBezTo>
                        <a:pt x="965" y="90"/>
                        <a:pt x="962" y="86"/>
                        <a:pt x="957" y="78"/>
                      </a:cubicBezTo>
                      <a:cubicBezTo>
                        <a:pt x="932" y="78"/>
                        <a:pt x="910" y="78"/>
                        <a:pt x="885" y="78"/>
                      </a:cubicBezTo>
                      <a:cubicBezTo>
                        <a:pt x="889" y="86"/>
                        <a:pt x="891" y="90"/>
                        <a:pt x="895" y="98"/>
                      </a:cubicBezTo>
                      <a:cubicBezTo>
                        <a:pt x="921" y="98"/>
                        <a:pt x="944" y="98"/>
                        <a:pt x="970" y="98"/>
                      </a:cubicBezTo>
                      <a:close/>
                      <a:moveTo>
                        <a:pt x="1057" y="98"/>
                      </a:moveTo>
                      <a:cubicBezTo>
                        <a:pt x="1050" y="90"/>
                        <a:pt x="1047" y="86"/>
                        <a:pt x="1041" y="77"/>
                      </a:cubicBezTo>
                      <a:cubicBezTo>
                        <a:pt x="1015" y="77"/>
                        <a:pt x="993" y="77"/>
                        <a:pt x="968" y="78"/>
                      </a:cubicBezTo>
                      <a:cubicBezTo>
                        <a:pt x="973" y="86"/>
                        <a:pt x="976" y="90"/>
                        <a:pt x="981" y="98"/>
                      </a:cubicBezTo>
                      <a:cubicBezTo>
                        <a:pt x="1007" y="98"/>
                        <a:pt x="1031" y="98"/>
                        <a:pt x="1057" y="98"/>
                      </a:cubicBezTo>
                      <a:close/>
                      <a:moveTo>
                        <a:pt x="1066" y="98"/>
                      </a:moveTo>
                      <a:cubicBezTo>
                        <a:pt x="1127" y="98"/>
                        <a:pt x="1187" y="98"/>
                        <a:pt x="1248" y="98"/>
                      </a:cubicBezTo>
                      <a:cubicBezTo>
                        <a:pt x="1241" y="90"/>
                        <a:pt x="1235" y="84"/>
                        <a:pt x="1228" y="77"/>
                      </a:cubicBezTo>
                      <a:cubicBezTo>
                        <a:pt x="1169" y="77"/>
                        <a:pt x="1110" y="77"/>
                        <a:pt x="1050" y="77"/>
                      </a:cubicBezTo>
                      <a:cubicBezTo>
                        <a:pt x="1057" y="86"/>
                        <a:pt x="1060" y="90"/>
                        <a:pt x="1066" y="98"/>
                      </a:cubicBezTo>
                      <a:close/>
                      <a:moveTo>
                        <a:pt x="20" y="103"/>
                      </a:moveTo>
                      <a:cubicBezTo>
                        <a:pt x="12" y="112"/>
                        <a:pt x="8" y="116"/>
                        <a:pt x="0" y="125"/>
                      </a:cubicBezTo>
                      <a:cubicBezTo>
                        <a:pt x="26" y="125"/>
                        <a:pt x="50" y="125"/>
                        <a:pt x="76" y="125"/>
                      </a:cubicBezTo>
                      <a:cubicBezTo>
                        <a:pt x="84" y="116"/>
                        <a:pt x="88" y="112"/>
                        <a:pt x="96" y="103"/>
                      </a:cubicBezTo>
                      <a:cubicBezTo>
                        <a:pt x="69" y="103"/>
                        <a:pt x="46" y="103"/>
                        <a:pt x="20" y="103"/>
                      </a:cubicBezTo>
                      <a:close/>
                      <a:moveTo>
                        <a:pt x="104" y="103"/>
                      </a:moveTo>
                      <a:cubicBezTo>
                        <a:pt x="96" y="112"/>
                        <a:pt x="93" y="116"/>
                        <a:pt x="85" y="125"/>
                      </a:cubicBezTo>
                      <a:cubicBezTo>
                        <a:pt x="112" y="125"/>
                        <a:pt x="135" y="125"/>
                        <a:pt x="162" y="125"/>
                      </a:cubicBezTo>
                      <a:cubicBezTo>
                        <a:pt x="169" y="116"/>
                        <a:pt x="172" y="112"/>
                        <a:pt x="180" y="102"/>
                      </a:cubicBezTo>
                      <a:cubicBezTo>
                        <a:pt x="153" y="102"/>
                        <a:pt x="130" y="103"/>
                        <a:pt x="104" y="103"/>
                      </a:cubicBezTo>
                      <a:close/>
                      <a:moveTo>
                        <a:pt x="173" y="125"/>
                      </a:moveTo>
                      <a:cubicBezTo>
                        <a:pt x="200" y="125"/>
                        <a:pt x="224" y="125"/>
                        <a:pt x="251" y="125"/>
                      </a:cubicBezTo>
                      <a:cubicBezTo>
                        <a:pt x="257" y="116"/>
                        <a:pt x="260" y="111"/>
                        <a:pt x="266" y="102"/>
                      </a:cubicBezTo>
                      <a:cubicBezTo>
                        <a:pt x="239" y="102"/>
                        <a:pt x="216" y="102"/>
                        <a:pt x="190" y="102"/>
                      </a:cubicBezTo>
                      <a:cubicBezTo>
                        <a:pt x="183" y="112"/>
                        <a:pt x="179" y="116"/>
                        <a:pt x="173" y="125"/>
                      </a:cubicBezTo>
                      <a:close/>
                      <a:moveTo>
                        <a:pt x="262" y="124"/>
                      </a:moveTo>
                      <a:cubicBezTo>
                        <a:pt x="296" y="124"/>
                        <a:pt x="329" y="124"/>
                        <a:pt x="363" y="124"/>
                      </a:cubicBezTo>
                      <a:cubicBezTo>
                        <a:pt x="367" y="116"/>
                        <a:pt x="369" y="111"/>
                        <a:pt x="374" y="102"/>
                      </a:cubicBezTo>
                      <a:cubicBezTo>
                        <a:pt x="341" y="102"/>
                        <a:pt x="309" y="102"/>
                        <a:pt x="277" y="102"/>
                      </a:cubicBezTo>
                      <a:cubicBezTo>
                        <a:pt x="271" y="111"/>
                        <a:pt x="268" y="116"/>
                        <a:pt x="262" y="124"/>
                      </a:cubicBezTo>
                      <a:close/>
                      <a:moveTo>
                        <a:pt x="385" y="102"/>
                      </a:moveTo>
                      <a:cubicBezTo>
                        <a:pt x="381" y="111"/>
                        <a:pt x="379" y="116"/>
                        <a:pt x="375" y="124"/>
                      </a:cubicBezTo>
                      <a:cubicBezTo>
                        <a:pt x="519" y="124"/>
                        <a:pt x="664" y="124"/>
                        <a:pt x="809" y="124"/>
                      </a:cubicBezTo>
                      <a:cubicBezTo>
                        <a:pt x="806" y="115"/>
                        <a:pt x="804" y="110"/>
                        <a:pt x="801" y="101"/>
                      </a:cubicBezTo>
                      <a:cubicBezTo>
                        <a:pt x="663" y="102"/>
                        <a:pt x="524" y="102"/>
                        <a:pt x="385" y="102"/>
                      </a:cubicBezTo>
                      <a:close/>
                      <a:moveTo>
                        <a:pt x="812" y="101"/>
                      </a:moveTo>
                      <a:cubicBezTo>
                        <a:pt x="815" y="110"/>
                        <a:pt x="817" y="115"/>
                        <a:pt x="820" y="123"/>
                      </a:cubicBezTo>
                      <a:cubicBezTo>
                        <a:pt x="853" y="123"/>
                        <a:pt x="887" y="123"/>
                        <a:pt x="920" y="123"/>
                      </a:cubicBezTo>
                      <a:cubicBezTo>
                        <a:pt x="915" y="114"/>
                        <a:pt x="913" y="110"/>
                        <a:pt x="908" y="101"/>
                      </a:cubicBezTo>
                      <a:cubicBezTo>
                        <a:pt x="876" y="101"/>
                        <a:pt x="844" y="101"/>
                        <a:pt x="812" y="101"/>
                      </a:cubicBezTo>
                      <a:close/>
                      <a:moveTo>
                        <a:pt x="918" y="101"/>
                      </a:moveTo>
                      <a:cubicBezTo>
                        <a:pt x="923" y="110"/>
                        <a:pt x="925" y="114"/>
                        <a:pt x="930" y="123"/>
                      </a:cubicBezTo>
                      <a:cubicBezTo>
                        <a:pt x="957" y="123"/>
                        <a:pt x="981" y="123"/>
                        <a:pt x="1008" y="123"/>
                      </a:cubicBezTo>
                      <a:cubicBezTo>
                        <a:pt x="1002" y="114"/>
                        <a:pt x="999" y="110"/>
                        <a:pt x="993" y="101"/>
                      </a:cubicBezTo>
                      <a:cubicBezTo>
                        <a:pt x="967" y="101"/>
                        <a:pt x="944" y="101"/>
                        <a:pt x="918" y="101"/>
                      </a:cubicBezTo>
                      <a:close/>
                      <a:moveTo>
                        <a:pt x="1010" y="113"/>
                      </a:moveTo>
                      <a:cubicBezTo>
                        <a:pt x="1012" y="117"/>
                        <a:pt x="1014" y="119"/>
                        <a:pt x="1017" y="123"/>
                      </a:cubicBezTo>
                      <a:cubicBezTo>
                        <a:pt x="1044" y="123"/>
                        <a:pt x="1068" y="123"/>
                        <a:pt x="1096" y="123"/>
                      </a:cubicBezTo>
                      <a:cubicBezTo>
                        <a:pt x="1092" y="119"/>
                        <a:pt x="1091" y="117"/>
                        <a:pt x="1088" y="113"/>
                      </a:cubicBezTo>
                      <a:cubicBezTo>
                        <a:pt x="1061" y="113"/>
                        <a:pt x="1037" y="113"/>
                        <a:pt x="1010" y="113"/>
                      </a:cubicBezTo>
                      <a:close/>
                      <a:moveTo>
                        <a:pt x="1162" y="100"/>
                      </a:moveTo>
                      <a:cubicBezTo>
                        <a:pt x="1136" y="100"/>
                        <a:pt x="1113" y="100"/>
                        <a:pt x="1087" y="100"/>
                      </a:cubicBezTo>
                      <a:cubicBezTo>
                        <a:pt x="1090" y="104"/>
                        <a:pt x="1092" y="106"/>
                        <a:pt x="1095" y="110"/>
                      </a:cubicBezTo>
                      <a:cubicBezTo>
                        <a:pt x="1121" y="110"/>
                        <a:pt x="1145" y="110"/>
                        <a:pt x="1171" y="110"/>
                      </a:cubicBezTo>
                      <a:cubicBezTo>
                        <a:pt x="1168" y="106"/>
                        <a:pt x="1166" y="104"/>
                        <a:pt x="1162" y="100"/>
                      </a:cubicBezTo>
                      <a:close/>
                      <a:moveTo>
                        <a:pt x="1097" y="113"/>
                      </a:moveTo>
                      <a:cubicBezTo>
                        <a:pt x="1100" y="117"/>
                        <a:pt x="1102" y="119"/>
                        <a:pt x="1105" y="123"/>
                      </a:cubicBezTo>
                      <a:cubicBezTo>
                        <a:pt x="1131" y="123"/>
                        <a:pt x="1157" y="123"/>
                        <a:pt x="1183" y="123"/>
                      </a:cubicBezTo>
                      <a:cubicBezTo>
                        <a:pt x="1179" y="119"/>
                        <a:pt x="1177" y="117"/>
                        <a:pt x="1174" y="113"/>
                      </a:cubicBezTo>
                      <a:cubicBezTo>
                        <a:pt x="1147" y="113"/>
                        <a:pt x="1124" y="113"/>
                        <a:pt x="1097" y="113"/>
                      </a:cubicBezTo>
                      <a:close/>
                      <a:moveTo>
                        <a:pt x="1263" y="113"/>
                      </a:moveTo>
                      <a:cubicBezTo>
                        <a:pt x="1235" y="113"/>
                        <a:pt x="1211" y="113"/>
                        <a:pt x="1184" y="113"/>
                      </a:cubicBezTo>
                      <a:cubicBezTo>
                        <a:pt x="1187" y="117"/>
                        <a:pt x="1189" y="119"/>
                        <a:pt x="1192" y="123"/>
                      </a:cubicBezTo>
                      <a:cubicBezTo>
                        <a:pt x="1219" y="123"/>
                        <a:pt x="1246" y="123"/>
                        <a:pt x="1272" y="123"/>
                      </a:cubicBezTo>
                      <a:cubicBezTo>
                        <a:pt x="1269" y="119"/>
                        <a:pt x="1267" y="117"/>
                        <a:pt x="1263" y="113"/>
                      </a:cubicBezTo>
                      <a:close/>
                    </a:path>
                  </a:pathLst>
                </a:custGeom>
                <a:solidFill>
                  <a:srgbClr val="4D4D4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112315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A1812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90" name="Freeform 14">
              <a:extLst>
                <a:ext uri="{FF2B5EF4-FFF2-40B4-BE49-F238E27FC236}">
                  <a16:creationId xmlns:a16="http://schemas.microsoft.com/office/drawing/2014/main" id="{F883067A-3AB9-4BB2-BA96-540A0F95FB54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5566" y="3173067"/>
              <a:ext cx="15767" cy="157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0" y="0"/>
                </a:cxn>
              </a:cxnLst>
              <a:rect l="0" t="0" r="r" b="b"/>
              <a:pathLst>
                <a:path w="24" h="2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23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1A181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Rechteck 266">
              <a:extLst>
                <a:ext uri="{FF2B5EF4-FFF2-40B4-BE49-F238E27FC236}">
                  <a16:creationId xmlns:a16="http://schemas.microsoft.com/office/drawing/2014/main" id="{5E606B45-7408-4D10-A2A1-9EA3A7AE488A}"/>
                </a:ext>
              </a:extLst>
            </p:cNvPr>
            <p:cNvSpPr/>
            <p:nvPr/>
          </p:nvSpPr>
          <p:spPr bwMode="gray">
            <a:xfrm>
              <a:off x="6017190" y="1080050"/>
              <a:ext cx="1481278" cy="1043454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1123158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+mn-cs"/>
                </a:rPr>
                <a:t>Unsupervised</a:t>
              </a:r>
            </a:p>
            <a:p>
              <a:pPr marL="0" marR="0" lvl="0" indent="0" algn="ctr" defTabSz="1123158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+mn-cs"/>
                </a:rPr>
                <a:t>Machine Learning Algorithm</a:t>
              </a:r>
            </a:p>
          </p:txBody>
        </p:sp>
      </p:grpSp>
      <p:sp>
        <p:nvSpPr>
          <p:cNvPr id="113" name="Rectangle 115">
            <a:extLst>
              <a:ext uri="{FF2B5EF4-FFF2-40B4-BE49-F238E27FC236}">
                <a16:creationId xmlns:a16="http://schemas.microsoft.com/office/drawing/2014/main" id="{7874BB12-FFC6-471E-A169-8D2ACE6966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6540" y="5559340"/>
            <a:ext cx="8313494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l" defTabSz="112315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</a:t>
            </a:r>
          </a:p>
          <a:p>
            <a:pPr marL="0" marR="0" lvl="0" indent="0" algn="l" defTabSz="1123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F7978D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Open Sans Light"/>
              </a:rPr>
              <a:t>HNG: High Need Group, members with 2 or more critical chronic conditions or with 6 or more general chronic conditions</a:t>
            </a:r>
          </a:p>
          <a:p>
            <a:r>
              <a:rPr lang="en-US" sz="1200" i="1" dirty="0">
                <a:solidFill>
                  <a:srgbClr val="F7978D">
                    <a:lumMod val="10000"/>
                  </a:srgbClr>
                </a:solidFill>
                <a:latin typeface="Arial"/>
                <a:cs typeface="Open Sans Light"/>
              </a:rPr>
              <a:t>* There are 332 predicted veterans are not clustered into any segments.</a:t>
            </a:r>
          </a:p>
        </p:txBody>
      </p:sp>
      <p:pic>
        <p:nvPicPr>
          <p:cNvPr id="2" name="Picture 1" descr="Man and woman">
            <a:extLst>
              <a:ext uri="{FF2B5EF4-FFF2-40B4-BE49-F238E27FC236}">
                <a16:creationId xmlns:a16="http://schemas.microsoft.com/office/drawing/2014/main" id="{BEDD81ED-ACD6-4DAB-8FFE-7C5E934CA1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59026" y="3132440"/>
            <a:ext cx="894057" cy="894057"/>
          </a:xfrm>
          <a:prstGeom prst="rect">
            <a:avLst/>
          </a:prstGeom>
          <a:noFill/>
        </p:spPr>
      </p:pic>
      <p:pic>
        <p:nvPicPr>
          <p:cNvPr id="115" name="Picture 1" descr="Man">
            <a:extLst>
              <a:ext uri="{FF2B5EF4-FFF2-40B4-BE49-F238E27FC236}">
                <a16:creationId xmlns:a16="http://schemas.microsoft.com/office/drawing/2014/main" id="{850C8495-B121-45F2-A81F-A1290BB47C1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367489" y="4518488"/>
            <a:ext cx="787056" cy="787056"/>
          </a:xfrm>
          <a:prstGeom prst="rect">
            <a:avLst/>
          </a:prstGeom>
          <a:noFill/>
        </p:spPr>
      </p:pic>
      <p:pic>
        <p:nvPicPr>
          <p:cNvPr id="116" name="Picture 1" descr="Group of men">
            <a:extLst>
              <a:ext uri="{FF2B5EF4-FFF2-40B4-BE49-F238E27FC236}">
                <a16:creationId xmlns:a16="http://schemas.microsoft.com/office/drawing/2014/main" id="{54E08424-0580-4B23-846A-BDD3BCA6F55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329895" y="1727768"/>
            <a:ext cx="815481" cy="815481"/>
          </a:xfrm>
          <a:prstGeom prst="rect">
            <a:avLst/>
          </a:prstGeom>
          <a:noFill/>
        </p:spPr>
      </p:pic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29AD6F1C-11DE-40E5-886E-EAA4DFB4383F}"/>
              </a:ext>
            </a:extLst>
          </p:cNvPr>
          <p:cNvCxnSpPr>
            <a:cxnSpLocks/>
          </p:cNvCxnSpPr>
          <p:nvPr/>
        </p:nvCxnSpPr>
        <p:spPr>
          <a:xfrm flipH="1" flipV="1">
            <a:off x="8371649" y="2989362"/>
            <a:ext cx="3197391" cy="11836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440B691A-5968-419E-B5C1-47B8222231F1}"/>
              </a:ext>
            </a:extLst>
          </p:cNvPr>
          <p:cNvCxnSpPr>
            <a:cxnSpLocks/>
          </p:cNvCxnSpPr>
          <p:nvPr/>
        </p:nvCxnSpPr>
        <p:spPr>
          <a:xfrm flipH="1">
            <a:off x="8446922" y="4542572"/>
            <a:ext cx="3118675" cy="1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AutoShape 5">
            <a:extLst>
              <a:ext uri="{FF2B5EF4-FFF2-40B4-BE49-F238E27FC236}">
                <a16:creationId xmlns:a16="http://schemas.microsoft.com/office/drawing/2014/main" id="{9D811055-1205-4B37-8647-D0871E56FEC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3753" y="1219200"/>
            <a:ext cx="11373329" cy="290545"/>
          </a:xfrm>
          <a:prstGeom prst="homePlate">
            <a:avLst>
              <a:gd name="adj" fmla="val 21760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marR="0" lvl="0" indent="-180000" algn="ctr" defTabSz="1123158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4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egmentation Definitions</a:t>
            </a:r>
          </a:p>
        </p:txBody>
      </p:sp>
    </p:spTree>
    <p:extLst>
      <p:ext uri="{BB962C8B-B14F-4D97-AF65-F5344CB8AC3E}">
        <p14:creationId xmlns:p14="http://schemas.microsoft.com/office/powerpoint/2010/main" val="34459723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D6EA33A-266E-42DA-9E06-486395A58F75}"/>
              </a:ext>
            </a:extLst>
          </p:cNvPr>
          <p:cNvSpPr txBox="1">
            <a:spLocks/>
          </p:cNvSpPr>
          <p:nvPr/>
        </p:nvSpPr>
        <p:spPr>
          <a:xfrm>
            <a:off x="1370012" y="262138"/>
            <a:ext cx="10121889" cy="73161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Predicted Veteran Profiling – </a:t>
            </a:r>
            <a:r>
              <a:rPr lang="en-US" sz="3200" dirty="0">
                <a:solidFill>
                  <a:srgbClr val="CC0000"/>
                </a:solidFill>
              </a:rPr>
              <a:t>Illinois</a:t>
            </a:r>
          </a:p>
          <a:p>
            <a:pPr lvl="0">
              <a:defRPr/>
            </a:pPr>
            <a:r>
              <a:rPr lang="en-US" sz="1600" i="1" dirty="0">
                <a:solidFill>
                  <a:srgbClr val="CC0000"/>
                </a:solidFill>
              </a:rPr>
              <a:t>Stratify the predicted veterans based on their health conditions, utilizations, demographic factors.</a:t>
            </a: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srgbClr val="CC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C365C7D-C769-460D-8B7F-B4BEED84B6D4}"/>
              </a:ext>
            </a:extLst>
          </p:cNvPr>
          <p:cNvGrpSpPr/>
          <p:nvPr/>
        </p:nvGrpSpPr>
        <p:grpSpPr>
          <a:xfrm>
            <a:off x="446540" y="285863"/>
            <a:ext cx="721672" cy="707886"/>
            <a:chOff x="-1706746" y="1081861"/>
            <a:chExt cx="721672" cy="70788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B7A8FE4-1952-458B-AD07-1986E2648FBA}"/>
                </a:ext>
              </a:extLst>
            </p:cNvPr>
            <p:cNvSpPr/>
            <p:nvPr/>
          </p:nvSpPr>
          <p:spPr>
            <a:xfrm>
              <a:off x="-1706746" y="1081861"/>
              <a:ext cx="721672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000" b="1" dirty="0">
                  <a:solidFill>
                    <a:srgbClr val="C00000"/>
                  </a:solidFill>
                  <a:latin typeface="Domaine Display Bold" panose="020A0803080505060203" pitchFamily="18" charset="0"/>
                  <a:ea typeface="Open Sans" panose="020B0606030504020204" pitchFamily="34" charset="0"/>
                  <a:cs typeface="Open Sans" panose="020B0606030504020204" pitchFamily="34" charset="0"/>
                </a:rPr>
                <a:t>14</a:t>
              </a: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3BD2E0A-AE5B-43BE-9544-E71D8984BEC1}"/>
                </a:ext>
              </a:extLst>
            </p:cNvPr>
            <p:cNvCxnSpPr/>
            <p:nvPr/>
          </p:nvCxnSpPr>
          <p:spPr>
            <a:xfrm>
              <a:off x="-1086149" y="1176998"/>
              <a:ext cx="0" cy="4262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B4B603-A95F-4B87-A7C7-7ADC6BB2DA04}"/>
              </a:ext>
            </a:extLst>
          </p:cNvPr>
          <p:cNvCxnSpPr/>
          <p:nvPr/>
        </p:nvCxnSpPr>
        <p:spPr>
          <a:xfrm>
            <a:off x="441290" y="1057337"/>
            <a:ext cx="10786425" cy="0"/>
          </a:xfrm>
          <a:prstGeom prst="line">
            <a:avLst/>
          </a:prstGeom>
          <a:ln w="254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Tabelle 51">
            <a:extLst>
              <a:ext uri="{FF2B5EF4-FFF2-40B4-BE49-F238E27FC236}">
                <a16:creationId xmlns:a16="http://schemas.microsoft.com/office/drawing/2014/main" id="{30358BC5-508A-4C47-8F05-A8759F8D75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649606"/>
              </p:ext>
            </p:extLst>
          </p:nvPr>
        </p:nvGraphicFramePr>
        <p:xfrm>
          <a:off x="212737" y="1750780"/>
          <a:ext cx="11829740" cy="4497619"/>
        </p:xfrm>
        <a:graphic>
          <a:graphicData uri="http://schemas.openxmlformats.org/drawingml/2006/table">
            <a:tbl>
              <a:tblPr firstRow="1" bandRow="1">
                <a:effectLst/>
                <a:tableStyleId>{F5AB1C69-6EDB-4FF4-983F-18BD219EF322}</a:tableStyleId>
              </a:tblPr>
              <a:tblGrid>
                <a:gridCol w="11468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1653522427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00178">
                  <a:extLst>
                    <a:ext uri="{9D8B030D-6E8A-4147-A177-3AD203B41FA5}">
                      <a16:colId xmlns:a16="http://schemas.microsoft.com/office/drawing/2014/main" val="1189405692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205975384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3152899115"/>
                    </a:ext>
                  </a:extLst>
                </a:gridCol>
                <a:gridCol w="764725">
                  <a:extLst>
                    <a:ext uri="{9D8B030D-6E8A-4147-A177-3AD203B41FA5}">
                      <a16:colId xmlns:a16="http://schemas.microsoft.com/office/drawing/2014/main" val="842809832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1671919692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1755283954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1019221437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val="1614280330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val="3857455003"/>
                    </a:ext>
                  </a:extLst>
                </a:gridCol>
                <a:gridCol w="988368">
                  <a:extLst>
                    <a:ext uri="{9D8B030D-6E8A-4147-A177-3AD203B41FA5}">
                      <a16:colId xmlns:a16="http://schemas.microsoft.com/office/drawing/2014/main" val="550949179"/>
                    </a:ext>
                  </a:extLst>
                </a:gridCol>
              </a:tblGrid>
              <a:tr h="822624"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Segment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Number of Predicted Veteran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Tenure</a:t>
                      </a:r>
                    </a:p>
                    <a:p>
                      <a:pPr algn="ctr"/>
                      <a:r>
                        <a:rPr lang="en-US" sz="8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(Months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Distinct </a:t>
                      </a:r>
                    </a:p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GPI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Age</a:t>
                      </a:r>
                    </a:p>
                    <a:p>
                      <a:pPr algn="ctr"/>
                      <a:r>
                        <a:rPr lang="en-US" sz="8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(Years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5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Disability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High Need Group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Primary Care Physician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Total</a:t>
                      </a:r>
                    </a:p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Medical Cost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Primary Care Visit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Call </a:t>
                      </a:r>
                    </a:p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Count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HEDIS Noncompliance Rates 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Breast Cancer Screening – Noncompliant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Colorectal Cancer Screening- Noncompliant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Statin Adherence - Noncompliant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6968"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High Utilizer, High Needs and High Member Interaction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20,556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19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5.93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75.3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1.6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 dirty="0"/>
                        <a:t>25.1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6.5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$4,356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2.76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1.92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29.04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47.62%</a:t>
                      </a:r>
                    </a:p>
                    <a:p>
                      <a:pPr algn="ctr"/>
                      <a:r>
                        <a:rPr lang="en-US" sz="1000" b="1" noProof="0" dirty="0"/>
                        <a:t>(84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53.28%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000" b="1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7,986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4.40%</a:t>
                      </a:r>
                    </a:p>
                    <a:p>
                      <a:pPr algn="ctr"/>
                      <a:r>
                        <a:rPr lang="en-US" sz="1000" b="1" noProof="0" dirty="0"/>
                        <a:t>(8,965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3713"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spcBef>
                          <a:spcPct val="20000"/>
                        </a:spcBef>
                      </a:pPr>
                      <a:r>
                        <a:rPr lang="en-GB" altLang="en-US" sz="900" b="1" kern="1200" dirty="0">
                          <a:solidFill>
                            <a:srgbClr val="C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Low Utilizer, High Noncompliance rates in HEDIS and No Member Interaction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49,59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20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1.29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73.0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1.8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3.0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6.8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$2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0.02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0.95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53.98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81.29%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0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(262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79.03%</a:t>
                      </a:r>
                    </a:p>
                    <a:p>
                      <a:pPr algn="ctr"/>
                      <a:r>
                        <a:rPr lang="en-US" sz="1000" b="1" noProof="0" dirty="0">
                          <a:solidFill>
                            <a:srgbClr val="C00000"/>
                          </a:solidFill>
                        </a:rPr>
                        <a:t>(2,342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>
                          <a:solidFill>
                            <a:srgbClr val="C00000"/>
                          </a:solidFill>
                        </a:rPr>
                        <a:t>3.89%</a:t>
                      </a:r>
                    </a:p>
                    <a:p>
                      <a:pPr algn="ctr"/>
                      <a:r>
                        <a:rPr lang="en-US" sz="1000" b="1" noProof="0" dirty="0">
                          <a:solidFill>
                            <a:srgbClr val="C00000"/>
                          </a:solidFill>
                        </a:rPr>
                        <a:t>(720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72846">
                <a:tc>
                  <a:txBody>
                    <a:bodyPr/>
                    <a:lstStyle/>
                    <a:p>
                      <a:pPr algn="ctr">
                        <a:spcBef>
                          <a:spcPct val="20000"/>
                        </a:spcBef>
                      </a:pPr>
                      <a:r>
                        <a:rPr lang="en-GB" altLang="en-US" sz="900" b="1" kern="1200" dirty="0">
                          <a:solidFill>
                            <a:schemeClr val="dk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edium Utilizer, Medium noncompliance rates, and Medium Member Interaction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4,248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21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3.27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75.1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0.8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 dirty="0"/>
                        <a:t>6.9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6.7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$150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0.71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1.22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37.3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67.64%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000" b="1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34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66.92%</a:t>
                      </a:r>
                    </a:p>
                    <a:p>
                      <a:pPr algn="ctr"/>
                      <a:r>
                        <a:rPr lang="en-US" sz="1000" b="1" noProof="0" dirty="0"/>
                        <a:t>(1,832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/>
                        <a:t>3.82%</a:t>
                      </a:r>
                    </a:p>
                    <a:p>
                      <a:pPr algn="ctr"/>
                      <a:r>
                        <a:rPr lang="en-US" sz="1000" b="1" noProof="0" dirty="0"/>
                        <a:t>(1,465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1468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D7D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9,763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78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5.1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5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8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.6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$2,707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01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66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6.27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2.63%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0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380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0.29%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0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12,160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29%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0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11,150)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20" name="AutoShape 5">
            <a:extLst>
              <a:ext uri="{FF2B5EF4-FFF2-40B4-BE49-F238E27FC236}">
                <a16:creationId xmlns:a16="http://schemas.microsoft.com/office/drawing/2014/main" id="{01A86078-0652-41B9-9F92-F8AAF2D5E5C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82240" y="1067711"/>
            <a:ext cx="11760237" cy="672697"/>
          </a:xfrm>
          <a:prstGeom prst="homePlate">
            <a:avLst>
              <a:gd name="adj" fmla="val 21760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algn="ctr"/>
            <a:r>
              <a:rPr lang="en-US" altLang="de-DE" sz="1600" b="1" noProof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commendation: </a:t>
            </a:r>
          </a:p>
          <a:p>
            <a:pPr marL="180000" algn="ctr"/>
            <a:r>
              <a:rPr lang="en-US" altLang="de-DE" sz="1600" b="1" noProof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w Utilizer, High Noncompliance rates in HEDIS and No Member Interaction segment is the target group</a:t>
            </a:r>
          </a:p>
        </p:txBody>
      </p:sp>
      <p:sp>
        <p:nvSpPr>
          <p:cNvPr id="10" name="Rectangle 115">
            <a:extLst>
              <a:ext uri="{FF2B5EF4-FFF2-40B4-BE49-F238E27FC236}">
                <a16:creationId xmlns:a16="http://schemas.microsoft.com/office/drawing/2014/main" id="{6AA85202-38F3-4F75-97C4-F28C78ADF1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5612" y="6248400"/>
            <a:ext cx="5073825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l" defTabSz="112315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</a:t>
            </a:r>
          </a:p>
          <a:p>
            <a:r>
              <a:rPr lang="en-US" sz="1200" i="1" dirty="0">
                <a:solidFill>
                  <a:srgbClr val="F7978D">
                    <a:lumMod val="10000"/>
                  </a:srgbClr>
                </a:solidFill>
                <a:latin typeface="Arial"/>
                <a:cs typeface="Open Sans Light"/>
              </a:rPr>
              <a:t>* There are 332 predicted veterans are not clustered into any segments.</a:t>
            </a:r>
          </a:p>
        </p:txBody>
      </p:sp>
    </p:spTree>
    <p:extLst>
      <p:ext uri="{BB962C8B-B14F-4D97-AF65-F5344CB8AC3E}">
        <p14:creationId xmlns:p14="http://schemas.microsoft.com/office/powerpoint/2010/main" val="37555976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D6EA33A-266E-42DA-9E06-486395A58F75}"/>
              </a:ext>
            </a:extLst>
          </p:cNvPr>
          <p:cNvSpPr txBox="1">
            <a:spLocks/>
          </p:cNvSpPr>
          <p:nvPr/>
        </p:nvSpPr>
        <p:spPr>
          <a:xfrm>
            <a:off x="1370012" y="262138"/>
            <a:ext cx="10121889" cy="73161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200" dirty="0">
                <a:solidFill>
                  <a:srgbClr val="CC0000"/>
                </a:solidFill>
              </a:rPr>
              <a:t>Socio-economic Profiling – Illinois</a:t>
            </a:r>
          </a:p>
          <a:p>
            <a:pPr lvl="0">
              <a:defRPr/>
            </a:pPr>
            <a:r>
              <a:rPr lang="en-US" sz="1600" i="1" dirty="0">
                <a:solidFill>
                  <a:srgbClr val="CC0000"/>
                </a:solidFill>
              </a:rPr>
              <a:t>Stratify the regions based on the socio-economic variables from the census data.</a:t>
            </a: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srgbClr val="CC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C365C7D-C769-460D-8B7F-B4BEED84B6D4}"/>
              </a:ext>
            </a:extLst>
          </p:cNvPr>
          <p:cNvGrpSpPr/>
          <p:nvPr/>
        </p:nvGrpSpPr>
        <p:grpSpPr>
          <a:xfrm>
            <a:off x="446540" y="285863"/>
            <a:ext cx="731756" cy="707886"/>
            <a:chOff x="-1706746" y="1081861"/>
            <a:chExt cx="731756" cy="70788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B7A8FE4-1952-458B-AD07-1986E2648FBA}"/>
                </a:ext>
              </a:extLst>
            </p:cNvPr>
            <p:cNvSpPr/>
            <p:nvPr/>
          </p:nvSpPr>
          <p:spPr>
            <a:xfrm>
              <a:off x="-1706746" y="1081861"/>
              <a:ext cx="683200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000" b="1" dirty="0">
                  <a:solidFill>
                    <a:srgbClr val="C00000"/>
                  </a:solidFill>
                  <a:latin typeface="Domaine Display Bold" panose="020A0803080505060203" pitchFamily="18" charset="0"/>
                  <a:ea typeface="Open Sans" panose="020B0606030504020204" pitchFamily="34" charset="0"/>
                  <a:cs typeface="Open Sans" panose="020B0606030504020204" pitchFamily="34" charset="0"/>
                </a:rPr>
                <a:t>15</a:t>
              </a: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3BD2E0A-AE5B-43BE-9544-E71D8984BEC1}"/>
                </a:ext>
              </a:extLst>
            </p:cNvPr>
            <p:cNvCxnSpPr/>
            <p:nvPr/>
          </p:nvCxnSpPr>
          <p:spPr>
            <a:xfrm>
              <a:off x="-974990" y="1265934"/>
              <a:ext cx="0" cy="4262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B4B603-A95F-4B87-A7C7-7ADC6BB2DA04}"/>
              </a:ext>
            </a:extLst>
          </p:cNvPr>
          <p:cNvCxnSpPr/>
          <p:nvPr/>
        </p:nvCxnSpPr>
        <p:spPr>
          <a:xfrm>
            <a:off x="441290" y="1057337"/>
            <a:ext cx="10786425" cy="0"/>
          </a:xfrm>
          <a:prstGeom prst="line">
            <a:avLst/>
          </a:prstGeom>
          <a:ln w="254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Tabelle 51">
            <a:extLst>
              <a:ext uri="{FF2B5EF4-FFF2-40B4-BE49-F238E27FC236}">
                <a16:creationId xmlns:a16="http://schemas.microsoft.com/office/drawing/2014/main" id="{30358BC5-508A-4C47-8F05-A8759F8D75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752296"/>
              </p:ext>
            </p:extLst>
          </p:nvPr>
        </p:nvGraphicFramePr>
        <p:xfrm>
          <a:off x="400565" y="1826487"/>
          <a:ext cx="10951648" cy="4360773"/>
        </p:xfrm>
        <a:graphic>
          <a:graphicData uri="http://schemas.openxmlformats.org/drawingml/2006/table">
            <a:tbl>
              <a:tblPr firstRow="1" bandRow="1">
                <a:effectLst/>
                <a:tableStyleId>{F5AB1C69-6EDB-4FF4-983F-18BD219EF322}</a:tableStyleId>
              </a:tblPr>
              <a:tblGrid>
                <a:gridCol w="10338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454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2713">
                  <a:extLst>
                    <a:ext uri="{9D8B030D-6E8A-4147-A177-3AD203B41FA5}">
                      <a16:colId xmlns:a16="http://schemas.microsoft.com/office/drawing/2014/main" val="1653522427"/>
                    </a:ext>
                  </a:extLst>
                </a:gridCol>
                <a:gridCol w="8451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439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439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845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84592">
                  <a:extLst>
                    <a:ext uri="{9D8B030D-6E8A-4147-A177-3AD203B41FA5}">
                      <a16:colId xmlns:a16="http://schemas.microsoft.com/office/drawing/2014/main" val="1189405692"/>
                    </a:ext>
                  </a:extLst>
                </a:gridCol>
                <a:gridCol w="914264">
                  <a:extLst>
                    <a:ext uri="{9D8B030D-6E8A-4147-A177-3AD203B41FA5}">
                      <a16:colId xmlns:a16="http://schemas.microsoft.com/office/drawing/2014/main" val="205975384"/>
                    </a:ext>
                  </a:extLst>
                </a:gridCol>
                <a:gridCol w="1125248">
                  <a:extLst>
                    <a:ext uri="{9D8B030D-6E8A-4147-A177-3AD203B41FA5}">
                      <a16:colId xmlns:a16="http://schemas.microsoft.com/office/drawing/2014/main" val="28403804"/>
                    </a:ext>
                  </a:extLst>
                </a:gridCol>
                <a:gridCol w="843937">
                  <a:extLst>
                    <a:ext uri="{9D8B030D-6E8A-4147-A177-3AD203B41FA5}">
                      <a16:colId xmlns:a16="http://schemas.microsoft.com/office/drawing/2014/main" val="1671919692"/>
                    </a:ext>
                  </a:extLst>
                </a:gridCol>
                <a:gridCol w="843937">
                  <a:extLst>
                    <a:ext uri="{9D8B030D-6E8A-4147-A177-3AD203B41FA5}">
                      <a16:colId xmlns:a16="http://schemas.microsoft.com/office/drawing/2014/main" val="2058314021"/>
                    </a:ext>
                  </a:extLst>
                </a:gridCol>
              </a:tblGrid>
              <a:tr h="734458">
                <a:tc>
                  <a:txBody>
                    <a:bodyPr/>
                    <a:lstStyle/>
                    <a:p>
                      <a:pPr algn="ctr"/>
                      <a:r>
                        <a:rPr lang="en-US" sz="11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Segment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Number of  Zip Code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Disability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20-50K Earnings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&gt;50K Earnings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Higher Education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HH Food Stamps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HH Married Couple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HH Living Alone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Total Widowed / Divorced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Minority Race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Counts of VA Facilitie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8845"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High Education and Income, with Less Minority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43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.5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3.3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4.7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6.9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.4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1.8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8.7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3.4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.2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7725"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edium Education and Income with Less Minority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,069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3.3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0.3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5.9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8.7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8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.3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8.2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.3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.5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1115"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solidFill>
                            <a:srgbClr val="C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Low Education and Income with More Minority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71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13.3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28.8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21.8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16.6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4.4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33.3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32.9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17.3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60.1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1115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D7D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,383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.9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6.9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3.9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0.4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8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.1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9.0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6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.3%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8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20" name="AutoShape 5">
            <a:extLst>
              <a:ext uri="{FF2B5EF4-FFF2-40B4-BE49-F238E27FC236}">
                <a16:creationId xmlns:a16="http://schemas.microsoft.com/office/drawing/2014/main" id="{01A86078-0652-41B9-9F92-F8AAF2D5E5C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0565" y="1121916"/>
            <a:ext cx="11091336" cy="576404"/>
          </a:xfrm>
          <a:prstGeom prst="homePlate">
            <a:avLst>
              <a:gd name="adj" fmla="val 21760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algn="ctr"/>
            <a:r>
              <a:rPr lang="en-US" altLang="de-DE" sz="1600" b="1" noProof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commendation: </a:t>
            </a:r>
          </a:p>
          <a:p>
            <a:pPr marL="180000" algn="ctr"/>
            <a:r>
              <a:rPr lang="en-US" altLang="de-DE" sz="1600" b="1" noProof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w Education and Income with More Minority Ratio Segment is the target group</a:t>
            </a:r>
          </a:p>
        </p:txBody>
      </p:sp>
    </p:spTree>
    <p:extLst>
      <p:ext uri="{BB962C8B-B14F-4D97-AF65-F5344CB8AC3E}">
        <p14:creationId xmlns:p14="http://schemas.microsoft.com/office/powerpoint/2010/main" val="38492174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>
            <a:extLst>
              <a:ext uri="{FF2B5EF4-FFF2-40B4-BE49-F238E27FC236}">
                <a16:creationId xmlns:a16="http://schemas.microsoft.com/office/drawing/2014/main" id="{63C085A3-95FF-4CF1-BE23-FA8AB08F5E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315" y="1095437"/>
            <a:ext cx="11139522" cy="5233101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190500" marR="0" lvl="0" indent="-19050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969696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1">
              <a:ln>
                <a:noFill/>
              </a:ln>
              <a:solidFill>
                <a:sysClr val="window" lastClr="FFFFFF">
                  <a:lumMod val="50000"/>
                </a:sysClr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uLnTx/>
              <a:uFillTx/>
              <a:latin typeface="Open Sans Light"/>
              <a:ea typeface="+mn-ea"/>
              <a:cs typeface="Arial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D6EA33A-266E-42DA-9E06-486395A58F75}"/>
              </a:ext>
            </a:extLst>
          </p:cNvPr>
          <p:cNvSpPr txBox="1">
            <a:spLocks/>
          </p:cNvSpPr>
          <p:nvPr/>
        </p:nvSpPr>
        <p:spPr>
          <a:xfrm>
            <a:off x="1370012" y="262138"/>
            <a:ext cx="10121889" cy="73161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800" dirty="0">
                <a:solidFill>
                  <a:srgbClr val="CC0000"/>
                </a:solidFill>
              </a:rPr>
              <a:t>Predicted Veteran vs Socio-Economic Profiling – Illinoi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C365C7D-C769-460D-8B7F-B4BEED84B6D4}"/>
              </a:ext>
            </a:extLst>
          </p:cNvPr>
          <p:cNvGrpSpPr/>
          <p:nvPr/>
        </p:nvGrpSpPr>
        <p:grpSpPr>
          <a:xfrm>
            <a:off x="446540" y="285863"/>
            <a:ext cx="731756" cy="707886"/>
            <a:chOff x="-1706746" y="1081861"/>
            <a:chExt cx="731756" cy="70788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B7A8FE4-1952-458B-AD07-1986E2648FBA}"/>
                </a:ext>
              </a:extLst>
            </p:cNvPr>
            <p:cNvSpPr/>
            <p:nvPr/>
          </p:nvSpPr>
          <p:spPr>
            <a:xfrm>
              <a:off x="-1706746" y="1081861"/>
              <a:ext cx="708848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000" b="1" dirty="0">
                  <a:solidFill>
                    <a:srgbClr val="C00000"/>
                  </a:solidFill>
                  <a:latin typeface="Domaine Display Bold" panose="020A0803080505060203" pitchFamily="18" charset="0"/>
                  <a:ea typeface="Open Sans" panose="020B0606030504020204" pitchFamily="34" charset="0"/>
                  <a:cs typeface="Open Sans" panose="020B0606030504020204" pitchFamily="34" charset="0"/>
                </a:rPr>
                <a:t>16</a:t>
              </a: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3BD2E0A-AE5B-43BE-9544-E71D8984BEC1}"/>
                </a:ext>
              </a:extLst>
            </p:cNvPr>
            <p:cNvCxnSpPr/>
            <p:nvPr/>
          </p:nvCxnSpPr>
          <p:spPr>
            <a:xfrm>
              <a:off x="-974990" y="1265934"/>
              <a:ext cx="0" cy="4262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B4B603-A95F-4B87-A7C7-7ADC6BB2DA04}"/>
              </a:ext>
            </a:extLst>
          </p:cNvPr>
          <p:cNvCxnSpPr/>
          <p:nvPr/>
        </p:nvCxnSpPr>
        <p:spPr>
          <a:xfrm>
            <a:off x="441290" y="1057337"/>
            <a:ext cx="10786425" cy="0"/>
          </a:xfrm>
          <a:prstGeom prst="line">
            <a:avLst/>
          </a:prstGeom>
          <a:ln w="254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Tabelle 51">
            <a:extLst>
              <a:ext uri="{FF2B5EF4-FFF2-40B4-BE49-F238E27FC236}">
                <a16:creationId xmlns:a16="http://schemas.microsoft.com/office/drawing/2014/main" id="{30358BC5-508A-4C47-8F05-A8759F8D75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6703679"/>
              </p:ext>
            </p:extLst>
          </p:nvPr>
        </p:nvGraphicFramePr>
        <p:xfrm>
          <a:off x="1190082" y="1723815"/>
          <a:ext cx="6123530" cy="4532315"/>
        </p:xfrm>
        <a:graphic>
          <a:graphicData uri="http://schemas.openxmlformats.org/drawingml/2006/table">
            <a:tbl>
              <a:tblPr firstRow="1" bandRow="1">
                <a:effectLst/>
                <a:tableStyleId>{F5AB1C69-6EDB-4FF4-983F-18BD219EF322}</a:tableStyleId>
              </a:tblPr>
              <a:tblGrid>
                <a:gridCol w="11201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08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1653522427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630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34458">
                <a:tc>
                  <a:txBody>
                    <a:bodyPr/>
                    <a:lstStyle/>
                    <a:p>
                      <a:pPr algn="ctr"/>
                      <a:r>
                        <a:rPr lang="en-US" sz="11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Segment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</a:rPr>
                        <a:t>High Utilizer, High Needs and High Member Interaction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Low Utilizer, High Noncompliance rates in HEDIS and No Member Interaction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Medium Utilizer, Medium noncompliance rates, and Medium Member Interaction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Overall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8845"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High Education and Income, with Less Minority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,203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,649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,355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,207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7725"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edium Education and Income with Less Minority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,254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,762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,443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,459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1115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>
                          <a:solidFill>
                            <a:schemeClr val="dk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Low Education and Income with More Minority Ratio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,099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600" b="1" kern="1200" noProof="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548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50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,097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1115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noProof="0" dirty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Overall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D7D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,556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,959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,248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i="0" u="none" strike="noStrike" kern="1200" noProof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9,763*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AF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20" name="AutoShape 5">
            <a:extLst>
              <a:ext uri="{FF2B5EF4-FFF2-40B4-BE49-F238E27FC236}">
                <a16:creationId xmlns:a16="http://schemas.microsoft.com/office/drawing/2014/main" id="{01A86078-0652-41B9-9F92-F8AAF2D5E5C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36812" y="1280184"/>
            <a:ext cx="4038600" cy="357444"/>
          </a:xfrm>
          <a:prstGeom prst="homePlate">
            <a:avLst>
              <a:gd name="adj" fmla="val 21760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algn="ctr"/>
            <a:r>
              <a:rPr lang="en-US" altLang="de-DE" sz="1600" b="1" noProof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edicted Veteran Profile</a:t>
            </a:r>
          </a:p>
        </p:txBody>
      </p:sp>
      <p:sp>
        <p:nvSpPr>
          <p:cNvPr id="10" name="AutoShape 5">
            <a:extLst>
              <a:ext uri="{FF2B5EF4-FFF2-40B4-BE49-F238E27FC236}">
                <a16:creationId xmlns:a16="http://schemas.microsoft.com/office/drawing/2014/main" id="{3C612D7D-6B9A-460A-B8F9-7EBAC8DEFF89}"/>
              </a:ext>
            </a:extLst>
          </p:cNvPr>
          <p:cNvSpPr>
            <a:spLocks noChangeArrowheads="1"/>
          </p:cNvSpPr>
          <p:nvPr/>
        </p:nvSpPr>
        <p:spPr bwMode="gray">
          <a:xfrm rot="16200000">
            <a:off x="-713046" y="4022404"/>
            <a:ext cx="3057465" cy="499051"/>
          </a:xfrm>
          <a:prstGeom prst="homePlate">
            <a:avLst>
              <a:gd name="adj" fmla="val 21760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algn="ctr"/>
            <a:r>
              <a:rPr lang="en-US" altLang="de-DE" sz="1600" b="1" noProof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edicted Veteran Socio-economic Profil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D67496E6-3D42-4F43-ADE8-BCBD468CAFB9}"/>
              </a:ext>
            </a:extLst>
          </p:cNvPr>
          <p:cNvSpPr txBox="1">
            <a:spLocks/>
          </p:cNvSpPr>
          <p:nvPr/>
        </p:nvSpPr>
        <p:spPr>
          <a:xfrm>
            <a:off x="7546305" y="1685409"/>
            <a:ext cx="3826838" cy="4115253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ts val="1800"/>
              </a:spcBef>
              <a:buClrTx/>
              <a:buFont typeface="Arial"/>
              <a:buNone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457200" rtl="0" eaLnBrk="1" latinLnBrk="0" hangingPunct="1">
              <a:spcBef>
                <a:spcPts val="12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457200" rtl="0" eaLnBrk="1" latinLnBrk="0" hangingPunct="1">
              <a:spcBef>
                <a:spcPts val="600"/>
              </a:spcBef>
              <a:buClrTx/>
              <a:buFont typeface="Lucida Grande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8580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0287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206500" indent="-17780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3716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l Target Group: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rgbClr val="3F3F3F"/>
                </a:solidFill>
                <a:latin typeface="Arial"/>
              </a:rPr>
              <a:t>548 predicted veterans who have:</a:t>
            </a:r>
          </a:p>
          <a:p>
            <a:pPr marL="800100" lvl="3" indent="-285750"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3F3F3F"/>
                </a:solidFill>
                <a:latin typeface="Arial"/>
              </a:rPr>
              <a:t>low medical utilizations and costs</a:t>
            </a:r>
          </a:p>
          <a:p>
            <a:pPr marL="800100" lvl="3" indent="-285750">
              <a:buFont typeface="Wingdings" panose="05000000000000000000" pitchFamily="2" charset="2"/>
              <a:buChar char="Ø"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 </a:t>
            </a:r>
            <a:r>
              <a:rPr lang="en-US" dirty="0">
                <a:solidFill>
                  <a:srgbClr val="3F3F3F"/>
                </a:solidFill>
                <a:latin typeface="Arial"/>
              </a:rPr>
              <a:t>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-compliance rates</a:t>
            </a:r>
          </a:p>
          <a:p>
            <a:pPr marL="800100" lvl="3" indent="-285750">
              <a:buFont typeface="Wingdings" panose="05000000000000000000" pitchFamily="2" charset="2"/>
              <a:buChar char="Ø"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 member interactions including outbound calls and grievances</a:t>
            </a:r>
          </a:p>
          <a:p>
            <a:pPr marL="800100" lvl="3" indent="-285750"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3F3F3F"/>
                </a:solidFill>
                <a:latin typeface="Arial"/>
              </a:rPr>
              <a:t>low income</a:t>
            </a:r>
          </a:p>
          <a:p>
            <a:pPr marL="800100" lvl="3" indent="-285750"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3F3F3F"/>
                </a:solidFill>
                <a:latin typeface="Arial"/>
              </a:rPr>
              <a:t>l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w education</a:t>
            </a:r>
          </a:p>
          <a:p>
            <a:pPr marL="800100" lvl="3" indent="-285750"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3F3F3F"/>
                </a:solidFill>
                <a:latin typeface="Arial"/>
              </a:rPr>
              <a:t>high minority ratio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3F3F3F"/>
                </a:solidFill>
              </a:rPr>
              <a:t>548 predicted veterans live in 59 zip codes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3" indent="0">
              <a:buNone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800100" lvl="3" indent="-285750">
              <a:buFont typeface="Wingdings" panose="05000000000000000000" pitchFamily="2" charset="2"/>
              <a:buChar char="Ø"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647EB53-0DBC-4998-9013-D02AE38164D9}"/>
              </a:ext>
            </a:extLst>
          </p:cNvPr>
          <p:cNvSpPr txBox="1"/>
          <p:nvPr/>
        </p:nvSpPr>
        <p:spPr>
          <a:xfrm>
            <a:off x="7620863" y="5016279"/>
            <a:ext cx="3752280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	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re are </a:t>
            </a:r>
            <a:r>
              <a:rPr lang="en-US" sz="1200" dirty="0">
                <a:solidFill>
                  <a:srgbClr val="3F3F3F"/>
                </a:solidFill>
                <a:latin typeface="Arial"/>
              </a:rPr>
              <a:t>33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edicted veterans are not clustered into any segment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tal clustered + total </a:t>
            </a:r>
            <a:r>
              <a:rPr lang="en-US" sz="1200" dirty="0">
                <a:solidFill>
                  <a:srgbClr val="3F3F3F"/>
                </a:solidFill>
                <a:latin typeface="Arial"/>
              </a:rPr>
              <a:t>non-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uster</a:t>
            </a:r>
            <a:r>
              <a:rPr lang="en-US" sz="1200" dirty="0">
                <a:solidFill>
                  <a:srgbClr val="3F3F3F"/>
                </a:solidFill>
                <a:latin typeface="Arial"/>
              </a:rPr>
              <a:t>ed = total member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29,763+332= 30,095</a:t>
            </a:r>
          </a:p>
        </p:txBody>
      </p:sp>
    </p:spTree>
    <p:extLst>
      <p:ext uri="{BB962C8B-B14F-4D97-AF65-F5344CB8AC3E}">
        <p14:creationId xmlns:p14="http://schemas.microsoft.com/office/powerpoint/2010/main" val="42468126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:a16="http://schemas.microsoft.com/office/drawing/2014/main" id="{F3E86CD1-DFB9-4C2F-99E3-150EC6E5A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3812" y="320835"/>
            <a:ext cx="10105705" cy="731330"/>
          </a:xfrm>
        </p:spPr>
        <p:txBody>
          <a:bodyPr/>
          <a:lstStyle/>
          <a:p>
            <a:r>
              <a:rPr lang="en-US" sz="2800" dirty="0">
                <a:solidFill>
                  <a:srgbClr val="C00000"/>
                </a:solidFill>
              </a:rPr>
              <a:t>Summary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DD3590F-9BCD-4109-872C-1236E7A60997}"/>
              </a:ext>
            </a:extLst>
          </p:cNvPr>
          <p:cNvGrpSpPr/>
          <p:nvPr/>
        </p:nvGrpSpPr>
        <p:grpSpPr>
          <a:xfrm>
            <a:off x="482434" y="344407"/>
            <a:ext cx="688009" cy="707758"/>
            <a:chOff x="-1706746" y="1081861"/>
            <a:chExt cx="688189" cy="707942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F691B72-2322-4318-A27B-99B5D812AEC8}"/>
                </a:ext>
              </a:extLst>
            </p:cNvPr>
            <p:cNvSpPr/>
            <p:nvPr/>
          </p:nvSpPr>
          <p:spPr>
            <a:xfrm>
              <a:off x="-1706746" y="1081861"/>
              <a:ext cx="667345" cy="7079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999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Domaine Display Bold" panose="020A0803080505060203" pitchFamily="18" charset="0"/>
                  <a:ea typeface="Open Sans" panose="020B0606030504020204" pitchFamily="34" charset="0"/>
                  <a:cs typeface="Open Sans" panose="020B0606030504020204" pitchFamily="34" charset="0"/>
                </a:rPr>
                <a:t>17</a:t>
              </a: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A30753B4-436C-444F-A810-90A79036956A}"/>
                </a:ext>
              </a:extLst>
            </p:cNvPr>
            <p:cNvCxnSpPr/>
            <p:nvPr/>
          </p:nvCxnSpPr>
          <p:spPr>
            <a:xfrm>
              <a:off x="-1018557" y="1210936"/>
              <a:ext cx="0" cy="4262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FFAF8CBE-60FE-4AFC-83C2-DEE415D7C82D}"/>
              </a:ext>
            </a:extLst>
          </p:cNvPr>
          <p:cNvSpPr txBox="1"/>
          <p:nvPr/>
        </p:nvSpPr>
        <p:spPr>
          <a:xfrm>
            <a:off x="1007155" y="1233609"/>
            <a:ext cx="10174514" cy="46166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chine learning models were built with various data </a:t>
            </a:r>
            <a:r>
              <a:rPr lang="en-US" sz="2000" dirty="0">
                <a:solidFill>
                  <a:srgbClr val="3F3F3F"/>
                </a:solidFill>
                <a:latin typeface="Arial"/>
              </a:rPr>
              <a:t>sources to predict the likelihood of being a veteran, and the model shows </a:t>
            </a:r>
            <a:r>
              <a:rPr lang="en-US" sz="2000" b="1" dirty="0">
                <a:solidFill>
                  <a:srgbClr val="C00000"/>
                </a:solidFill>
                <a:latin typeface="Arial"/>
              </a:rPr>
              <a:t>94%</a:t>
            </a:r>
            <a:r>
              <a:rPr lang="en-US" sz="2000" dirty="0">
                <a:solidFill>
                  <a:srgbClr val="3F3F3F"/>
                </a:solidFill>
                <a:latin typeface="Arial"/>
              </a:rPr>
              <a:t> accuracy on the test data.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dirty="0">
                <a:solidFill>
                  <a:srgbClr val="3F3F3F"/>
                </a:solidFill>
                <a:latin typeface="Arial"/>
              </a:rPr>
              <a:t>There are some limitations in the models due to the data quality and availability, which include</a:t>
            </a:r>
          </a:p>
          <a:p>
            <a:pPr lvl="1">
              <a:defRPr/>
            </a:pPr>
            <a:r>
              <a:rPr lang="en-US" sz="2000" dirty="0">
                <a:solidFill>
                  <a:srgbClr val="3F3F3F"/>
                </a:solidFill>
                <a:latin typeface="Arial"/>
              </a:rPr>
              <a:t>1) 81% of the veterans are newly enrolled members, and the general MAPD population only has 36% of newly enrolled members.</a:t>
            </a:r>
          </a:p>
          <a:p>
            <a:pPr lvl="1">
              <a:defRPr/>
            </a:pPr>
            <a:r>
              <a:rPr lang="en-US" sz="2000" dirty="0">
                <a:solidFill>
                  <a:srgbClr val="3F3F3F"/>
                </a:solidFill>
                <a:latin typeface="Arial"/>
              </a:rPr>
              <a:t>2) 45% of the sampled nonveterans may not be truly nonveteran due to lack of information.</a:t>
            </a:r>
          </a:p>
          <a:p>
            <a:pPr lvl="1">
              <a:defRPr/>
            </a:pPr>
            <a:r>
              <a:rPr lang="en-US" sz="2000" dirty="0">
                <a:solidFill>
                  <a:srgbClr val="3F3F3F"/>
                </a:solidFill>
                <a:latin typeface="Arial"/>
              </a:rPr>
              <a:t>3) The model was built and scored using data as 06/2020, and the tables may get updated afterward.</a:t>
            </a:r>
          </a:p>
          <a:p>
            <a:pPr lvl="1">
              <a:defRPr/>
            </a:pPr>
            <a:endParaRPr lang="en-US" sz="2000" dirty="0">
              <a:solidFill>
                <a:srgbClr val="3F3F3F"/>
              </a:solidFill>
              <a:latin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3F3F3F"/>
                </a:solidFill>
                <a:latin typeface="Arial"/>
              </a:rPr>
              <a:t>Based on the scores of the model, a pilot would be rolling out to the selected cohort to verify their veteran status, and the results would be used to validate the model.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en-US" sz="2000" dirty="0">
              <a:solidFill>
                <a:srgbClr val="3F3F3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56299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56CB0E-166C-440E-BC7F-9C85BA8949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9451253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itle 2"/>
          <p:cNvSpPr>
            <a:spLocks noGrp="1"/>
          </p:cNvSpPr>
          <p:nvPr>
            <p:ph type="title"/>
          </p:nvPr>
        </p:nvSpPr>
        <p:spPr>
          <a:xfrm>
            <a:off x="1217612" y="311380"/>
            <a:ext cx="9416168" cy="731330"/>
          </a:xfrm>
        </p:spPr>
        <p:txBody>
          <a:bodyPr/>
          <a:lstStyle/>
          <a:p>
            <a:r>
              <a:rPr lang="en-US" sz="2800" dirty="0">
                <a:solidFill>
                  <a:srgbClr val="C00000"/>
                </a:solidFill>
              </a:rPr>
              <a:t>Veteran Predictive Model Frame Work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4C976CB-4BF0-4249-BAA0-2655BCA4C90C}"/>
              </a:ext>
            </a:extLst>
          </p:cNvPr>
          <p:cNvSpPr txBox="1"/>
          <p:nvPr/>
        </p:nvSpPr>
        <p:spPr>
          <a:xfrm>
            <a:off x="335844" y="1109588"/>
            <a:ext cx="11549768" cy="10825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600" b="1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Key Objectives</a:t>
            </a:r>
          </a:p>
          <a:p>
            <a:pPr marL="285750" indent="-285750" defTabSz="456758" fontAlgn="base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1400" b="0" i="1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Identify veteran members to get their consents to collect chart from VA system, which would help to improve clinical quality and management  </a:t>
            </a:r>
          </a:p>
          <a:p>
            <a:pPr marL="285750" indent="-285750" defTabSz="456758" fontAlgn="base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1400" i="1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Identify key drivers and cohorts of veteran members for campaigns that focus on improving HEDIS and Patient Safety measures.</a:t>
            </a:r>
            <a:endParaRPr lang="en-US" sz="1400" b="0" i="1" dirty="0">
              <a:solidFill>
                <a:schemeClr val="tx2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9" name="AutoShape 3">
            <a:extLst>
              <a:ext uri="{FF2B5EF4-FFF2-40B4-BE49-F238E27FC236}">
                <a16:creationId xmlns:a16="http://schemas.microsoft.com/office/drawing/2014/main" id="{5C16AD79-7F17-4884-84D4-1B84C26E96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1812" y="2193559"/>
            <a:ext cx="10881958" cy="381000"/>
          </a:xfrm>
          <a:prstGeom prst="roundRect">
            <a:avLst>
              <a:gd name="adj" fmla="val 16667"/>
            </a:avLst>
          </a:prstGeom>
          <a:solidFill>
            <a:srgbClr val="C00000"/>
          </a:solidFill>
          <a:ln w="9525">
            <a:noFill/>
            <a:round/>
            <a:headEnd/>
            <a:tailEnd/>
          </a:ln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Calibri" pitchFamily="34" charset="0"/>
              </a:rPr>
              <a:t>Process Flow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EFCDF5C-F19A-48DC-8830-3065B44A7162}"/>
              </a:ext>
            </a:extLst>
          </p:cNvPr>
          <p:cNvSpPr txBox="1"/>
          <p:nvPr/>
        </p:nvSpPr>
        <p:spPr>
          <a:xfrm>
            <a:off x="335844" y="3303883"/>
            <a:ext cx="3806783" cy="5443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b="1" i="1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Predictive Model – Likelihood of being a veteran </a:t>
            </a:r>
          </a:p>
          <a:p>
            <a:pPr marL="171450" indent="-1714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Who is a veteran?</a:t>
            </a:r>
          </a:p>
          <a:p>
            <a:pPr defTabSz="456758" fontAlgn="base">
              <a:spcBef>
                <a:spcPts val="1200"/>
              </a:spcBef>
            </a:pPr>
            <a:endParaRPr lang="en-US" sz="1200" b="0" i="0" dirty="0">
              <a:solidFill>
                <a:schemeClr val="tx2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03C5AC9-A05C-4292-9F7B-C55E72920DC4}"/>
              </a:ext>
            </a:extLst>
          </p:cNvPr>
          <p:cNvSpPr txBox="1"/>
          <p:nvPr/>
        </p:nvSpPr>
        <p:spPr>
          <a:xfrm>
            <a:off x="4630639" y="3319544"/>
            <a:ext cx="3353641" cy="30256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b="1" i="1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Generating veteran likelihood scores </a:t>
            </a:r>
          </a:p>
          <a:p>
            <a:pPr marL="228600" indent="-228600" defTabSz="456758" fontAlgn="base">
              <a:spcBef>
                <a:spcPts val="1200"/>
              </a:spcBef>
              <a:buFont typeface="+mj-lt"/>
              <a:buAutoNum type="arabicPeriod"/>
            </a:pPr>
            <a:r>
              <a:rPr lang="en-US" sz="1200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Membership Cohort – 2020 MAPD active members </a:t>
            </a:r>
          </a:p>
          <a:p>
            <a:pPr marL="228600" indent="-228600" defTabSz="456758" fontAlgn="base">
              <a:spcBef>
                <a:spcPts val="1200"/>
              </a:spcBef>
              <a:buFont typeface="+mj-lt"/>
              <a:buAutoNum type="arabicPeriod"/>
            </a:pPr>
            <a:r>
              <a:rPr lang="en-US" sz="1200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Derive various attributes at the members level  across claims, HEDIS and Patient Safety data, and clinical data</a:t>
            </a:r>
          </a:p>
          <a:p>
            <a:pPr marL="228600" indent="-228600" defTabSz="456758" fontAlgn="base">
              <a:spcBef>
                <a:spcPts val="1200"/>
              </a:spcBef>
              <a:buFont typeface="+mj-lt"/>
              <a:buAutoNum type="arabicPeriod"/>
            </a:pPr>
            <a:r>
              <a:rPr lang="en-US" sz="1200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Generate veteran likelihood scores using the machine learning model </a:t>
            </a:r>
          </a:p>
          <a:p>
            <a:pPr marL="733029" lvl="1" indent="-1714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Identify and stratify  </a:t>
            </a:r>
          </a:p>
          <a:p>
            <a:pPr marL="733029" lvl="1" indent="-1714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Veterans would be the members who were predicted in the top 3 deciles  </a:t>
            </a:r>
            <a:endParaRPr lang="en-US" sz="1200" b="0" i="0" dirty="0">
              <a:solidFill>
                <a:schemeClr val="tx2"/>
              </a:solidFill>
              <a:latin typeface="Open Sans" charset="0"/>
              <a:ea typeface="Open Sans" charset="0"/>
              <a:cs typeface="Open Sans" charset="0"/>
            </a:endParaRPr>
          </a:p>
          <a:p>
            <a:pPr defTabSz="456758" fontAlgn="base">
              <a:spcBef>
                <a:spcPts val="1200"/>
              </a:spcBef>
            </a:pPr>
            <a:endParaRPr lang="en-US" sz="1200" b="0" i="0" dirty="0">
              <a:solidFill>
                <a:schemeClr val="tx2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2D6AD65-3791-4D74-91EC-B57142AB0A7F}"/>
              </a:ext>
            </a:extLst>
          </p:cNvPr>
          <p:cNvSpPr txBox="1"/>
          <p:nvPr/>
        </p:nvSpPr>
        <p:spPr>
          <a:xfrm>
            <a:off x="8471745" y="3313606"/>
            <a:ext cx="3677487" cy="2339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b="1" i="1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Validate against actual veteran status</a:t>
            </a:r>
            <a:endParaRPr lang="en-US" sz="1200" b="0" i="0" dirty="0">
              <a:solidFill>
                <a:schemeClr val="tx2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606F2F2-ECC6-4EAC-A997-D01EC0B9FDC2}"/>
              </a:ext>
            </a:extLst>
          </p:cNvPr>
          <p:cNvCxnSpPr>
            <a:cxnSpLocks/>
          </p:cNvCxnSpPr>
          <p:nvPr/>
        </p:nvCxnSpPr>
        <p:spPr>
          <a:xfrm>
            <a:off x="4418012" y="3337526"/>
            <a:ext cx="0" cy="3127752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3874C90D-C472-46CC-9690-DA58454C1CFD}"/>
              </a:ext>
            </a:extLst>
          </p:cNvPr>
          <p:cNvCxnSpPr>
            <a:cxnSpLocks/>
          </p:cNvCxnSpPr>
          <p:nvPr/>
        </p:nvCxnSpPr>
        <p:spPr>
          <a:xfrm>
            <a:off x="8228012" y="3210123"/>
            <a:ext cx="0" cy="3192259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E8ACBC2A-DC7D-41D3-AB30-DDBA74FEF7E6}"/>
              </a:ext>
            </a:extLst>
          </p:cNvPr>
          <p:cNvCxnSpPr/>
          <p:nvPr/>
        </p:nvCxnSpPr>
        <p:spPr>
          <a:xfrm>
            <a:off x="237693" y="2667000"/>
            <a:ext cx="11713437" cy="0"/>
          </a:xfrm>
          <a:prstGeom prst="line">
            <a:avLst/>
          </a:prstGeom>
          <a:ln w="285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7E2B08B8-8CAD-4E39-9FF2-51CDA2978827}"/>
              </a:ext>
            </a:extLst>
          </p:cNvPr>
          <p:cNvSpPr txBox="1"/>
          <p:nvPr/>
        </p:nvSpPr>
        <p:spPr>
          <a:xfrm>
            <a:off x="306332" y="3901447"/>
            <a:ext cx="2127759" cy="22857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600" indent="-228600" defTabSz="456758" fontAlgn="base">
              <a:spcBef>
                <a:spcPts val="1200"/>
              </a:spcBef>
              <a:buAutoNum type="arabicPeriod"/>
            </a:pPr>
            <a:r>
              <a:rPr lang="en-US" sz="1200" i="0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Leverage data include VBE survey, SOP Campaigns, and  Enrollment data, etc.. </a:t>
            </a:r>
          </a:p>
          <a:p>
            <a:pPr marL="228600" indent="-228600" defTabSz="456758" fontAlgn="base">
              <a:spcBef>
                <a:spcPts val="1200"/>
              </a:spcBef>
              <a:buAutoNum type="arabicPeriod"/>
            </a:pPr>
            <a:r>
              <a:rPr lang="en-US" sz="1200" i="0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Develop machine learning models using advanced ensemble algorithms</a:t>
            </a:r>
          </a:p>
          <a:p>
            <a:pPr marL="228600" indent="-228600" defTabSz="456758" fontAlgn="base">
              <a:spcBef>
                <a:spcPts val="1200"/>
              </a:spcBef>
              <a:buAutoNum type="arabicPeriod"/>
            </a:pPr>
            <a:r>
              <a:rPr lang="en-US" sz="1200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M</a:t>
            </a:r>
            <a:r>
              <a:rPr lang="en-US" sz="1200" i="0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ulti dimensional attributes: HEDIS and Patient Safety measures, </a:t>
            </a:r>
            <a:r>
              <a:rPr lang="en-US" sz="1200" i="1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Clinical Utilization , Disease Conditions , Member Experience , Demographics 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EB21FC0-840A-41F8-88C8-F4C92300ED6F}"/>
              </a:ext>
            </a:extLst>
          </p:cNvPr>
          <p:cNvSpPr txBox="1"/>
          <p:nvPr/>
        </p:nvSpPr>
        <p:spPr>
          <a:xfrm>
            <a:off x="8419977" y="3728939"/>
            <a:ext cx="3056716" cy="23973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600" indent="-228600" defTabSz="456758" fontAlgn="base">
              <a:spcBef>
                <a:spcPts val="1200"/>
              </a:spcBef>
              <a:buFont typeface="+mj-lt"/>
              <a:buAutoNum type="arabicPeriod"/>
            </a:pPr>
            <a:r>
              <a:rPr lang="en-US" sz="1200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Collaborate with call center to run a pilot in prioritized markets based on predicted likelihood scores to verify veteran status, run effectiveness test against predicted veterans. </a:t>
            </a:r>
          </a:p>
          <a:p>
            <a:pPr marL="228600" indent="-228600" defTabSz="456758" fontAlgn="base">
              <a:spcBef>
                <a:spcPts val="1200"/>
              </a:spcBef>
              <a:buFont typeface="+mj-lt"/>
              <a:buAutoNum type="arabicPeriod"/>
            </a:pPr>
            <a:r>
              <a:rPr lang="en-US" sz="1200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Identify and evaluate the key drivers for veterans to close the gaps for HEDIS and Patient Safety.</a:t>
            </a:r>
          </a:p>
          <a:p>
            <a:pPr marL="228600" indent="-228600" defTabSz="456758" fontAlgn="base">
              <a:spcBef>
                <a:spcPts val="1200"/>
              </a:spcBef>
              <a:buFont typeface="+mj-lt"/>
              <a:buAutoNum type="arabicPeriod"/>
            </a:pPr>
            <a:r>
              <a:rPr lang="en-US" sz="1200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Perform effective intervention based on the opportunities identified </a:t>
            </a:r>
          </a:p>
        </p:txBody>
      </p:sp>
      <p:sp>
        <p:nvSpPr>
          <p:cNvPr id="65" name="AutoShape 5">
            <a:extLst>
              <a:ext uri="{FF2B5EF4-FFF2-40B4-BE49-F238E27FC236}">
                <a16:creationId xmlns:a16="http://schemas.microsoft.com/office/drawing/2014/main" id="{406957E3-A031-4868-93A2-919D830A28B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9023" y="2762460"/>
            <a:ext cx="3885569" cy="381000"/>
          </a:xfrm>
          <a:prstGeom prst="homePlate">
            <a:avLst>
              <a:gd name="adj" fmla="val 21760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indent="-180000" algn="ctr">
              <a:lnSpc>
                <a:spcPct val="95000"/>
              </a:lnSpc>
              <a:spcAft>
                <a:spcPts val="800"/>
              </a:spcAft>
            </a:pPr>
            <a:r>
              <a:rPr lang="de-DE" altLang="de-DE" sz="1400" b="1" noProof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ep 1 – Predictive Model</a:t>
            </a:r>
          </a:p>
        </p:txBody>
      </p:sp>
      <p:sp>
        <p:nvSpPr>
          <p:cNvPr id="66" name="AutoShape 6">
            <a:extLst>
              <a:ext uri="{FF2B5EF4-FFF2-40B4-BE49-F238E27FC236}">
                <a16:creationId xmlns:a16="http://schemas.microsoft.com/office/drawing/2014/main" id="{84E95FD5-EE4B-4AF0-84E5-98FD541BBD29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30639" y="2762460"/>
            <a:ext cx="3444973" cy="381000"/>
          </a:xfrm>
          <a:prstGeom prst="chevron">
            <a:avLst>
              <a:gd name="adj" fmla="val 21523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ep 2- Prediction</a:t>
            </a:r>
          </a:p>
        </p:txBody>
      </p:sp>
      <p:sp>
        <p:nvSpPr>
          <p:cNvPr id="67" name="AutoShape 7">
            <a:extLst>
              <a:ext uri="{FF2B5EF4-FFF2-40B4-BE49-F238E27FC236}">
                <a16:creationId xmlns:a16="http://schemas.microsoft.com/office/drawing/2014/main" id="{A585B4F1-F7AA-4369-81B9-802797C56CD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91430" y="2748062"/>
            <a:ext cx="3185266" cy="381000"/>
          </a:xfrm>
          <a:prstGeom prst="chevron">
            <a:avLst>
              <a:gd name="adj" fmla="val 21523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indent="-180000" algn="ctr">
              <a:lnSpc>
                <a:spcPct val="95000"/>
              </a:lnSpc>
              <a:spcAft>
                <a:spcPts val="800"/>
              </a:spcAft>
            </a:pPr>
            <a:r>
              <a:rPr lang="de-DE" altLang="de-DE" sz="1400" b="1" noProof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ep 3- Validation/ Insights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0C59075C-6E4A-47F7-B7D8-CCCE25E241B3}"/>
              </a:ext>
            </a:extLst>
          </p:cNvPr>
          <p:cNvGrpSpPr/>
          <p:nvPr/>
        </p:nvGrpSpPr>
        <p:grpSpPr>
          <a:xfrm>
            <a:off x="403493" y="344407"/>
            <a:ext cx="509184" cy="707758"/>
            <a:chOff x="-1706746" y="1081861"/>
            <a:chExt cx="509317" cy="707942"/>
          </a:xfrm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01ADCF76-0F7A-46F2-BEF4-0C338D7EA914}"/>
                </a:ext>
              </a:extLst>
            </p:cNvPr>
            <p:cNvSpPr/>
            <p:nvPr/>
          </p:nvSpPr>
          <p:spPr>
            <a:xfrm>
              <a:off x="-1706746" y="1081861"/>
              <a:ext cx="391556" cy="7079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999" b="1" dirty="0">
                  <a:solidFill>
                    <a:srgbClr val="C00000"/>
                  </a:solidFill>
                  <a:latin typeface="Domaine Display Bold" panose="020A0803080505060203" pitchFamily="18" charset="0"/>
                  <a:ea typeface="Open Sans" panose="020B0606030504020204" pitchFamily="34" charset="0"/>
                  <a:cs typeface="Open Sans" panose="020B0606030504020204" pitchFamily="34" charset="0"/>
                </a:rPr>
                <a:t>1</a:t>
              </a: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1CB6A8E5-27EB-41F0-AC5E-723B88588340}"/>
                </a:ext>
              </a:extLst>
            </p:cNvPr>
            <p:cNvCxnSpPr/>
            <p:nvPr/>
          </p:nvCxnSpPr>
          <p:spPr>
            <a:xfrm>
              <a:off x="-1197429" y="1217529"/>
              <a:ext cx="0" cy="4262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687CCB67-7500-4104-A7CA-A07CF7CB8E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7427" y="4776209"/>
            <a:ext cx="1897165" cy="162617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9EB7897-7E28-4EEF-B08C-B9CBC027C8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17812" y="3589346"/>
            <a:ext cx="1117789" cy="1145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676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:a16="http://schemas.microsoft.com/office/drawing/2014/main" id="{F3E86CD1-DFB9-4C2F-99E3-150EC6E5A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0012" y="388854"/>
            <a:ext cx="10334305" cy="731330"/>
          </a:xfrm>
        </p:spPr>
        <p:txBody>
          <a:bodyPr/>
          <a:lstStyle/>
          <a:p>
            <a:r>
              <a:rPr lang="en-US" sz="2900" dirty="0">
                <a:solidFill>
                  <a:srgbClr val="C00000"/>
                </a:solidFill>
              </a:rPr>
              <a:t>MAPD Overview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439F9CD-1329-4060-8810-53E39EA726DB}"/>
              </a:ext>
            </a:extLst>
          </p:cNvPr>
          <p:cNvGrpSpPr/>
          <p:nvPr/>
        </p:nvGrpSpPr>
        <p:grpSpPr>
          <a:xfrm>
            <a:off x="243985" y="339211"/>
            <a:ext cx="694421" cy="707758"/>
            <a:chOff x="-1866297" y="1076664"/>
            <a:chExt cx="694603" cy="70794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3E874E8-4B79-414A-8D14-1F160226229D}"/>
                </a:ext>
              </a:extLst>
            </p:cNvPr>
            <p:cNvSpPr/>
            <p:nvPr/>
          </p:nvSpPr>
          <p:spPr>
            <a:xfrm>
              <a:off x="-1866297" y="1076664"/>
              <a:ext cx="694603" cy="7079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999" b="1" dirty="0">
                  <a:solidFill>
                    <a:srgbClr val="C00000"/>
                  </a:solidFill>
                  <a:latin typeface="Domaine Display Bold" panose="020A0803080505060203" pitchFamily="18" charset="0"/>
                  <a:ea typeface="Open Sans" panose="020B0606030504020204" pitchFamily="34" charset="0"/>
                  <a:cs typeface="Open Sans" panose="020B0606030504020204" pitchFamily="34" charset="0"/>
                </a:rPr>
                <a:t>18</a:t>
              </a: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568CECFF-4C21-43B1-AE6B-2AF23C736F0B}"/>
                </a:ext>
              </a:extLst>
            </p:cNvPr>
            <p:cNvCxnSpPr/>
            <p:nvPr/>
          </p:nvCxnSpPr>
          <p:spPr>
            <a:xfrm>
              <a:off x="-1197429" y="1217529"/>
              <a:ext cx="0" cy="4262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AutoShape 5">
            <a:extLst>
              <a:ext uri="{FF2B5EF4-FFF2-40B4-BE49-F238E27FC236}">
                <a16:creationId xmlns:a16="http://schemas.microsoft.com/office/drawing/2014/main" id="{72C35864-06C8-426C-9A33-E909F5106398}"/>
              </a:ext>
            </a:extLst>
          </p:cNvPr>
          <p:cNvSpPr>
            <a:spLocks noChangeArrowheads="1"/>
          </p:cNvSpPr>
          <p:nvPr/>
        </p:nvSpPr>
        <p:spPr bwMode="gray">
          <a:xfrm>
            <a:off x="491847" y="1112237"/>
            <a:ext cx="6627494" cy="381000"/>
          </a:xfrm>
          <a:prstGeom prst="homePlate">
            <a:avLst>
              <a:gd name="adj" fmla="val 21760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indent="-180000" algn="ctr">
              <a:lnSpc>
                <a:spcPct val="95000"/>
              </a:lnSpc>
              <a:spcAft>
                <a:spcPts val="800"/>
              </a:spcAft>
            </a:pPr>
            <a:r>
              <a:rPr lang="en-US" altLang="de-DE" sz="1400" b="1" noProof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l MAPD Individual Members (N=1.6 Millions)</a:t>
            </a:r>
          </a:p>
        </p:txBody>
      </p:sp>
      <p:sp>
        <p:nvSpPr>
          <p:cNvPr id="11" name="AutoShape 5">
            <a:extLst>
              <a:ext uri="{FF2B5EF4-FFF2-40B4-BE49-F238E27FC236}">
                <a16:creationId xmlns:a16="http://schemas.microsoft.com/office/drawing/2014/main" id="{F26177AB-957C-44CF-A70B-367F4B1FAB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16421" y="1102441"/>
            <a:ext cx="4445391" cy="381000"/>
          </a:xfrm>
          <a:prstGeom prst="homePlate">
            <a:avLst>
              <a:gd name="adj" fmla="val 21760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indent="-180000" algn="ctr">
              <a:lnSpc>
                <a:spcPct val="95000"/>
              </a:lnSpc>
              <a:spcAft>
                <a:spcPts val="800"/>
              </a:spcAft>
            </a:pPr>
            <a:r>
              <a:rPr lang="en-US" altLang="de-DE" sz="1400" b="1" noProof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p: MAPD Membership by State (VA Facilities)*</a:t>
            </a:r>
          </a:p>
        </p:txBody>
      </p:sp>
      <p:grpSp>
        <p:nvGrpSpPr>
          <p:cNvPr id="12" name="Gruppieren 69">
            <a:extLst>
              <a:ext uri="{FF2B5EF4-FFF2-40B4-BE49-F238E27FC236}">
                <a16:creationId xmlns:a16="http://schemas.microsoft.com/office/drawing/2014/main" id="{76D45819-F5F8-41C8-8D77-1BBAEEBA805B}"/>
              </a:ext>
            </a:extLst>
          </p:cNvPr>
          <p:cNvGrpSpPr/>
          <p:nvPr/>
        </p:nvGrpSpPr>
        <p:grpSpPr>
          <a:xfrm>
            <a:off x="384471" y="1615718"/>
            <a:ext cx="3398489" cy="2047876"/>
            <a:chOff x="4648992" y="1554954"/>
            <a:chExt cx="4174333" cy="2047876"/>
          </a:xfrm>
        </p:grpSpPr>
        <p:grpSp>
          <p:nvGrpSpPr>
            <p:cNvPr id="15" name="Gruppieren 45">
              <a:extLst>
                <a:ext uri="{FF2B5EF4-FFF2-40B4-BE49-F238E27FC236}">
                  <a16:creationId xmlns:a16="http://schemas.microsoft.com/office/drawing/2014/main" id="{94A148A8-40C6-4884-90B8-8B35F7C37BD7}"/>
                </a:ext>
              </a:extLst>
            </p:cNvPr>
            <p:cNvGrpSpPr/>
            <p:nvPr/>
          </p:nvGrpSpPr>
          <p:grpSpPr>
            <a:xfrm>
              <a:off x="4648993" y="1554954"/>
              <a:ext cx="4171950" cy="2047876"/>
              <a:chOff x="4648993" y="1554954"/>
              <a:chExt cx="4171950" cy="2047876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8" name="Rectangle 22">
                <a:extLst>
                  <a:ext uri="{FF2B5EF4-FFF2-40B4-BE49-F238E27FC236}">
                    <a16:creationId xmlns:a16="http://schemas.microsoft.com/office/drawing/2014/main" id="{6EF45439-04BC-4241-96CA-07DDE7D6E9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48993" y="1915316"/>
                <a:ext cx="4171950" cy="1687514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marL="190500" indent="-190500" algn="ctr" defTabSz="9144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b="1" kern="0" noProof="1">
                  <a:solidFill>
                    <a:sysClr val="window" lastClr="FFFFFF">
                      <a:lumMod val="50000"/>
                    </a:sys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cs typeface="Arial" charset="0"/>
                </a:endParaRPr>
              </a:p>
            </p:txBody>
          </p:sp>
          <p:sp>
            <p:nvSpPr>
              <p:cNvPr id="29" name="Rectangle 19">
                <a:extLst>
                  <a:ext uri="{FF2B5EF4-FFF2-40B4-BE49-F238E27FC236}">
                    <a16:creationId xmlns:a16="http://schemas.microsoft.com/office/drawing/2014/main" id="{93299B55-29B0-4D31-8EF8-D9D1E8E8012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648993" y="1554954"/>
                <a:ext cx="4171950" cy="360362"/>
              </a:xfrm>
              <a:prstGeom prst="rect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28800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1600" b="1" kern="0" noProof="1">
                    <a:solidFill>
                      <a:srgbClr val="000000"/>
                    </a:solidFill>
                    <a:cs typeface="Arial" charset="0"/>
                  </a:rPr>
                  <a:t>Top 5 States</a:t>
                </a:r>
              </a:p>
            </p:txBody>
          </p:sp>
        </p:grpSp>
        <p:grpSp>
          <p:nvGrpSpPr>
            <p:cNvPr id="16" name="Gruppieren 82">
              <a:extLst>
                <a:ext uri="{FF2B5EF4-FFF2-40B4-BE49-F238E27FC236}">
                  <a16:creationId xmlns:a16="http://schemas.microsoft.com/office/drawing/2014/main" id="{A276E9DA-1E06-42ED-B0E1-0A40C10A3B21}"/>
                </a:ext>
              </a:extLst>
            </p:cNvPr>
            <p:cNvGrpSpPr/>
            <p:nvPr/>
          </p:nvGrpSpPr>
          <p:grpSpPr bwMode="gray">
            <a:xfrm>
              <a:off x="4651375" y="2940645"/>
              <a:ext cx="4171950" cy="482687"/>
              <a:chOff x="0" y="4236720"/>
              <a:chExt cx="9144000" cy="2404428"/>
            </a:xfrm>
          </p:grpSpPr>
          <p:sp>
            <p:nvSpPr>
              <p:cNvPr id="26" name="Rechteck 33">
                <a:extLst>
                  <a:ext uri="{FF2B5EF4-FFF2-40B4-BE49-F238E27FC236}">
                    <a16:creationId xmlns:a16="http://schemas.microsoft.com/office/drawing/2014/main" id="{95729345-F326-4340-820D-51AD448169D4}"/>
                  </a:ext>
                </a:extLst>
              </p:cNvPr>
              <p:cNvSpPr/>
              <p:nvPr/>
            </p:nvSpPr>
            <p:spPr bwMode="gray">
              <a:xfrm>
                <a:off x="0" y="4389120"/>
                <a:ext cx="9144000" cy="2252028"/>
              </a:xfrm>
              <a:prstGeom prst="rect">
                <a:avLst/>
              </a:prstGeom>
              <a:gradFill flip="none" rotWithShape="1">
                <a:gsLst>
                  <a:gs pos="98000">
                    <a:srgbClr val="FFFFFF">
                      <a:alpha val="0"/>
                    </a:srgbClr>
                  </a:gs>
                  <a:gs pos="0">
                    <a:sysClr val="windowText" lastClr="000000">
                      <a:alpha val="26000"/>
                    </a:sysClr>
                  </a:gs>
                </a:gsLst>
                <a:lin ang="54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400">
                  <a:defRPr/>
                </a:pPr>
                <a:endParaRPr lang="en-US" kern="0" noProof="1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7" name="Rechteck 34">
                <a:extLst>
                  <a:ext uri="{FF2B5EF4-FFF2-40B4-BE49-F238E27FC236}">
                    <a16:creationId xmlns:a16="http://schemas.microsoft.com/office/drawing/2014/main" id="{2C028575-D329-4751-8497-4D9B3BEF51F0}"/>
                  </a:ext>
                </a:extLst>
              </p:cNvPr>
              <p:cNvSpPr/>
              <p:nvPr/>
            </p:nvSpPr>
            <p:spPr bwMode="gray">
              <a:xfrm flipV="1">
                <a:off x="0" y="4236720"/>
                <a:ext cx="9144000" cy="152400"/>
              </a:xfrm>
              <a:prstGeom prst="rect">
                <a:avLst/>
              </a:prstGeom>
              <a:gradFill flip="none" rotWithShape="1">
                <a:gsLst>
                  <a:gs pos="98000">
                    <a:srgbClr val="FFFFFF">
                      <a:alpha val="0"/>
                    </a:srgbClr>
                  </a:gs>
                  <a:gs pos="0">
                    <a:sysClr val="windowText" lastClr="000000">
                      <a:alpha val="26000"/>
                    </a:sysClr>
                  </a:gs>
                </a:gsLst>
                <a:lin ang="54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400">
                  <a:defRPr/>
                </a:pPr>
                <a:endParaRPr lang="en-US" kern="0" noProof="1">
                  <a:solidFill>
                    <a:sysClr val="windowText" lastClr="000000"/>
                  </a:solidFill>
                </a:endParaRPr>
              </a:p>
            </p:txBody>
          </p:sp>
        </p:grpSp>
        <p:graphicFrame>
          <p:nvGraphicFramePr>
            <p:cNvPr id="17" name="Object 162">
              <a:extLst>
                <a:ext uri="{FF2B5EF4-FFF2-40B4-BE49-F238E27FC236}">
                  <a16:creationId xmlns:a16="http://schemas.microsoft.com/office/drawing/2014/main" id="{23B033D3-FD81-474C-B302-11D2B18E7D85}"/>
                </a:ext>
              </a:extLst>
            </p:cNvPr>
            <p:cNvGraphicFramePr>
              <a:graphicFrameLocks noChangeAspect="1"/>
            </p:cNvGraphicFramePr>
            <p:nvPr>
              <p:custDataLst>
                <p:tags r:id="rId4"/>
              </p:custDataLst>
              <p:extLst>
                <p:ext uri="{D42A27DB-BD31-4B8C-83A1-F6EECF244321}">
                  <p14:modId xmlns:p14="http://schemas.microsoft.com/office/powerpoint/2010/main" val="2770685592"/>
                </p:ext>
              </p:extLst>
            </p:nvPr>
          </p:nvGraphicFramePr>
          <p:xfrm>
            <a:off x="4648992" y="1916114"/>
            <a:ext cx="4129883" cy="168671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</p:grpSp>
      <p:grpSp>
        <p:nvGrpSpPr>
          <p:cNvPr id="30" name="Gruppieren 77">
            <a:extLst>
              <a:ext uri="{FF2B5EF4-FFF2-40B4-BE49-F238E27FC236}">
                <a16:creationId xmlns:a16="http://schemas.microsoft.com/office/drawing/2014/main" id="{DECDF4C7-6F72-4987-A853-8EBD76CD62CE}"/>
              </a:ext>
            </a:extLst>
          </p:cNvPr>
          <p:cNvGrpSpPr/>
          <p:nvPr/>
        </p:nvGrpSpPr>
        <p:grpSpPr>
          <a:xfrm>
            <a:off x="3870075" y="1615718"/>
            <a:ext cx="3365920" cy="2047875"/>
            <a:chOff x="323850" y="1554955"/>
            <a:chExt cx="4176000" cy="2047875"/>
          </a:xfrm>
        </p:grpSpPr>
        <p:grpSp>
          <p:nvGrpSpPr>
            <p:cNvPr id="31" name="Gruppieren 22">
              <a:extLst>
                <a:ext uri="{FF2B5EF4-FFF2-40B4-BE49-F238E27FC236}">
                  <a16:creationId xmlns:a16="http://schemas.microsoft.com/office/drawing/2014/main" id="{E11DD6E9-DD86-4681-96E2-EAAA22B29F32}"/>
                </a:ext>
              </a:extLst>
            </p:cNvPr>
            <p:cNvGrpSpPr/>
            <p:nvPr/>
          </p:nvGrpSpPr>
          <p:grpSpPr>
            <a:xfrm>
              <a:off x="323850" y="1554955"/>
              <a:ext cx="4176000" cy="2047875"/>
              <a:chOff x="323850" y="1554955"/>
              <a:chExt cx="4176000" cy="2047875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3" name="Rectangle 2">
                <a:extLst>
                  <a:ext uri="{FF2B5EF4-FFF2-40B4-BE49-F238E27FC236}">
                    <a16:creationId xmlns:a16="http://schemas.microsoft.com/office/drawing/2014/main" id="{74658DF2-F5C9-4932-B977-A075E5D0F5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3850" y="1915249"/>
                <a:ext cx="4175125" cy="168758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marL="190500" indent="-190500" algn="ctr" defTabSz="9144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b="1" kern="0" noProof="1">
                  <a:solidFill>
                    <a:sysClr val="window" lastClr="FFFFFF">
                      <a:lumMod val="50000"/>
                    </a:sys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cs typeface="Arial" charset="0"/>
                </a:endParaRP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4A0071A9-FE66-47D0-83A5-C47D71B91DA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23850" y="1554955"/>
                <a:ext cx="4176000" cy="360295"/>
              </a:xfrm>
              <a:prstGeom prst="rect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28800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1600" b="1" kern="0" noProof="1">
                    <a:solidFill>
                      <a:srgbClr val="000000"/>
                    </a:solidFill>
                    <a:cs typeface="Arial" charset="0"/>
                  </a:rPr>
                  <a:t>Gender</a:t>
                </a:r>
              </a:p>
            </p:txBody>
          </p:sp>
        </p:grpSp>
        <p:grpSp>
          <p:nvGrpSpPr>
            <p:cNvPr id="32" name="Gruppieren 82">
              <a:extLst>
                <a:ext uri="{FF2B5EF4-FFF2-40B4-BE49-F238E27FC236}">
                  <a16:creationId xmlns:a16="http://schemas.microsoft.com/office/drawing/2014/main" id="{BB2C443E-F2DA-4FEF-B3E1-641C7E9B90AF}"/>
                </a:ext>
              </a:extLst>
            </p:cNvPr>
            <p:cNvGrpSpPr/>
            <p:nvPr/>
          </p:nvGrpSpPr>
          <p:grpSpPr bwMode="gray">
            <a:xfrm>
              <a:off x="327025" y="3048595"/>
              <a:ext cx="4162747" cy="482687"/>
              <a:chOff x="0" y="4236720"/>
              <a:chExt cx="9144000" cy="2404428"/>
            </a:xfrm>
          </p:grpSpPr>
          <p:sp>
            <p:nvSpPr>
              <p:cNvPr id="41" name="Rechteck 30">
                <a:extLst>
                  <a:ext uri="{FF2B5EF4-FFF2-40B4-BE49-F238E27FC236}">
                    <a16:creationId xmlns:a16="http://schemas.microsoft.com/office/drawing/2014/main" id="{DCBC51FF-6F28-4766-B198-624F6AECBF45}"/>
                  </a:ext>
                </a:extLst>
              </p:cNvPr>
              <p:cNvSpPr/>
              <p:nvPr/>
            </p:nvSpPr>
            <p:spPr bwMode="gray">
              <a:xfrm>
                <a:off x="0" y="4389120"/>
                <a:ext cx="9144000" cy="2252028"/>
              </a:xfrm>
              <a:prstGeom prst="rect">
                <a:avLst/>
              </a:prstGeom>
              <a:gradFill flip="none" rotWithShape="1">
                <a:gsLst>
                  <a:gs pos="98000">
                    <a:srgbClr val="FFFFFF">
                      <a:alpha val="0"/>
                    </a:srgbClr>
                  </a:gs>
                  <a:gs pos="0">
                    <a:sysClr val="windowText" lastClr="000000">
                      <a:alpha val="26000"/>
                    </a:sysClr>
                  </a:gs>
                </a:gsLst>
                <a:lin ang="54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400">
                  <a:defRPr/>
                </a:pPr>
                <a:endParaRPr lang="en-US" kern="0" noProof="1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Rechteck 31">
                <a:extLst>
                  <a:ext uri="{FF2B5EF4-FFF2-40B4-BE49-F238E27FC236}">
                    <a16:creationId xmlns:a16="http://schemas.microsoft.com/office/drawing/2014/main" id="{6A356045-7D11-4701-95BA-B0266D76F373}"/>
                  </a:ext>
                </a:extLst>
              </p:cNvPr>
              <p:cNvSpPr/>
              <p:nvPr/>
            </p:nvSpPr>
            <p:spPr bwMode="gray">
              <a:xfrm flipV="1">
                <a:off x="0" y="4236720"/>
                <a:ext cx="9144000" cy="152400"/>
              </a:xfrm>
              <a:prstGeom prst="rect">
                <a:avLst/>
              </a:prstGeom>
              <a:gradFill flip="none" rotWithShape="1">
                <a:gsLst>
                  <a:gs pos="98000">
                    <a:srgbClr val="FFFFFF">
                      <a:alpha val="0"/>
                    </a:srgbClr>
                  </a:gs>
                  <a:gs pos="0">
                    <a:sysClr val="windowText" lastClr="000000">
                      <a:alpha val="26000"/>
                    </a:sysClr>
                  </a:gs>
                </a:gsLst>
                <a:lin ang="54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400">
                  <a:defRPr/>
                </a:pPr>
                <a:endParaRPr lang="en-US" kern="0" noProof="1">
                  <a:solidFill>
                    <a:sysClr val="windowText" lastClr="000000"/>
                  </a:solidFill>
                </a:endParaRPr>
              </a:p>
            </p:txBody>
          </p:sp>
        </p:grpSp>
        <p:graphicFrame>
          <p:nvGraphicFramePr>
            <p:cNvPr id="33" name="Object 9">
              <a:extLst>
                <a:ext uri="{FF2B5EF4-FFF2-40B4-BE49-F238E27FC236}">
                  <a16:creationId xmlns:a16="http://schemas.microsoft.com/office/drawing/2014/main" id="{3A88949B-A2B4-4062-896D-66ADA9C6931F}"/>
                </a:ext>
              </a:extLst>
            </p:cNvPr>
            <p:cNvGraphicFramePr>
              <a:graphicFrameLocks noChangeAspect="1"/>
            </p:cNvGraphicFramePr>
            <p:nvPr>
              <p:custDataLst>
                <p:tags r:id="rId3"/>
              </p:custDataLst>
              <p:extLst>
                <p:ext uri="{D42A27DB-BD31-4B8C-83A1-F6EECF244321}">
                  <p14:modId xmlns:p14="http://schemas.microsoft.com/office/powerpoint/2010/main" val="897374789"/>
                </p:ext>
              </p:extLst>
            </p:nvPr>
          </p:nvGraphicFramePr>
          <p:xfrm>
            <a:off x="323850" y="1916114"/>
            <a:ext cx="4175125" cy="168671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</p:grpSp>
      <p:grpSp>
        <p:nvGrpSpPr>
          <p:cNvPr id="45" name="Gruppieren 23">
            <a:extLst>
              <a:ext uri="{FF2B5EF4-FFF2-40B4-BE49-F238E27FC236}">
                <a16:creationId xmlns:a16="http://schemas.microsoft.com/office/drawing/2014/main" id="{BFE6A4BF-AFEC-4B9B-AACE-61B369B14829}"/>
              </a:ext>
            </a:extLst>
          </p:cNvPr>
          <p:cNvGrpSpPr/>
          <p:nvPr/>
        </p:nvGrpSpPr>
        <p:grpSpPr>
          <a:xfrm>
            <a:off x="375996" y="3923946"/>
            <a:ext cx="3405026" cy="2047875"/>
            <a:chOff x="4645818" y="1554955"/>
            <a:chExt cx="4175125" cy="204787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6" name="Rectangle 22">
              <a:extLst>
                <a:ext uri="{FF2B5EF4-FFF2-40B4-BE49-F238E27FC236}">
                  <a16:creationId xmlns:a16="http://schemas.microsoft.com/office/drawing/2014/main" id="{8FE6EDB5-A93D-4A62-B971-E7A9DD6323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5818" y="1915249"/>
              <a:ext cx="4175125" cy="168758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 anchorCtr="0"/>
            <a:lstStyle/>
            <a:p>
              <a:pPr marL="190500" indent="-190500" algn="ctr" defTabSz="9144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b="1" kern="0" noProof="1">
                <a:solidFill>
                  <a:sysClr val="window" lastClr="FFFFFF">
                    <a:lumMod val="50000"/>
                  </a:sysClr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cs typeface="Arial" charset="0"/>
              </a:endParaRPr>
            </a:p>
          </p:txBody>
        </p:sp>
        <p:sp>
          <p:nvSpPr>
            <p:cNvPr id="47" name="Rectangle 19">
              <a:extLst>
                <a:ext uri="{FF2B5EF4-FFF2-40B4-BE49-F238E27FC236}">
                  <a16:creationId xmlns:a16="http://schemas.microsoft.com/office/drawing/2014/main" id="{8DD2AADC-B0AB-4553-BC13-AADEEAD140A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48993" y="1554955"/>
              <a:ext cx="4171950" cy="36029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28800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1600" b="1" kern="0" noProof="1">
                  <a:solidFill>
                    <a:srgbClr val="000000"/>
                  </a:solidFill>
                  <a:cs typeface="Arial" charset="0"/>
                </a:rPr>
                <a:t>Tenure Months</a:t>
              </a:r>
            </a:p>
          </p:txBody>
        </p:sp>
      </p:grpSp>
      <p:graphicFrame>
        <p:nvGraphicFramePr>
          <p:cNvPr id="51" name="Object 76">
            <a:extLst>
              <a:ext uri="{FF2B5EF4-FFF2-40B4-BE49-F238E27FC236}">
                <a16:creationId xmlns:a16="http://schemas.microsoft.com/office/drawing/2014/main" id="{470619FB-032A-447A-BD65-DA2FAD3062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3257654"/>
              </p:ext>
            </p:extLst>
          </p:nvPr>
        </p:nvGraphicFramePr>
        <p:xfrm>
          <a:off x="403493" y="4229171"/>
          <a:ext cx="3377528" cy="1683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52" name="Gruppieren 22">
            <a:extLst>
              <a:ext uri="{FF2B5EF4-FFF2-40B4-BE49-F238E27FC236}">
                <a16:creationId xmlns:a16="http://schemas.microsoft.com/office/drawing/2014/main" id="{F71DB338-A77D-48E0-8CB9-9544B44F815B}"/>
              </a:ext>
            </a:extLst>
          </p:cNvPr>
          <p:cNvGrpSpPr/>
          <p:nvPr/>
        </p:nvGrpSpPr>
        <p:grpSpPr>
          <a:xfrm>
            <a:off x="3838274" y="3923946"/>
            <a:ext cx="3398433" cy="2047875"/>
            <a:chOff x="323850" y="1554955"/>
            <a:chExt cx="4176000" cy="204787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3" name="Rectangle 2">
              <a:extLst>
                <a:ext uri="{FF2B5EF4-FFF2-40B4-BE49-F238E27FC236}">
                  <a16:creationId xmlns:a16="http://schemas.microsoft.com/office/drawing/2014/main" id="{D7516DC7-3C77-4AFC-95BC-63D0CFEF57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850" y="1915249"/>
              <a:ext cx="4175125" cy="168758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 anchorCtr="0"/>
            <a:lstStyle/>
            <a:p>
              <a:pPr marL="190500" indent="-190500" algn="ctr" defTabSz="9144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b="1" kern="0" noProof="1">
                <a:solidFill>
                  <a:sysClr val="window" lastClr="FFFFFF">
                    <a:lumMod val="50000"/>
                  </a:sysClr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cs typeface="Arial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324E15B6-50B9-4208-A613-BEEABA0FED2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3850" y="1554955"/>
              <a:ext cx="4176000" cy="36029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28800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1600" b="1" kern="0" noProof="1">
                  <a:solidFill>
                    <a:srgbClr val="000000"/>
                  </a:solidFill>
                  <a:cs typeface="Arial" charset="0"/>
                </a:rPr>
                <a:t>Age Group</a:t>
              </a:r>
            </a:p>
          </p:txBody>
        </p:sp>
      </p:grpSp>
      <p:graphicFrame>
        <p:nvGraphicFramePr>
          <p:cNvPr id="62" name="Object 9">
            <a:extLst>
              <a:ext uri="{FF2B5EF4-FFF2-40B4-BE49-F238E27FC236}">
                <a16:creationId xmlns:a16="http://schemas.microsoft.com/office/drawing/2014/main" id="{E0714134-7C58-4371-BD97-6EDD93E22A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0815537"/>
              </p:ext>
            </p:extLst>
          </p:nvPr>
        </p:nvGraphicFramePr>
        <p:xfrm>
          <a:off x="3739434" y="4284173"/>
          <a:ext cx="3488438" cy="1652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78" name="Rectangle 96">
            <a:extLst>
              <a:ext uri="{FF2B5EF4-FFF2-40B4-BE49-F238E27FC236}">
                <a16:creationId xmlns:a16="http://schemas.microsoft.com/office/drawing/2014/main" id="{A899A2F2-7462-42C6-853E-1941C2A354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1867" y="2045651"/>
            <a:ext cx="87009" cy="104120"/>
          </a:xfrm>
          <a:prstGeom prst="rect">
            <a:avLst/>
          </a:prstGeom>
          <a:solidFill>
            <a:srgbClr val="0070C0"/>
          </a:solidFill>
          <a:ln w="9525">
            <a:solidFill>
              <a:sysClr val="window" lastClr="FFFFFF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79" name="Rectangle 4">
            <a:extLst>
              <a:ext uri="{FF2B5EF4-FFF2-40B4-BE49-F238E27FC236}">
                <a16:creationId xmlns:a16="http://schemas.microsoft.com/office/drawing/2014/main" id="{E40EA5CA-45FB-4500-8AE9-A6B9E38300B4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17568" y="2039369"/>
            <a:ext cx="721666" cy="146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>
              <a:defRPr/>
            </a:pPr>
            <a:r>
              <a:rPr lang="en-US" sz="1000" kern="0" dirty="0">
                <a:solidFill>
                  <a:sysClr val="windowText" lastClr="000000"/>
                </a:solidFill>
              </a:rPr>
              <a:t>Males</a:t>
            </a:r>
          </a:p>
        </p:txBody>
      </p:sp>
      <p:sp>
        <p:nvSpPr>
          <p:cNvPr id="80" name="Rectangle 96">
            <a:extLst>
              <a:ext uri="{FF2B5EF4-FFF2-40B4-BE49-F238E27FC236}">
                <a16:creationId xmlns:a16="http://schemas.microsoft.com/office/drawing/2014/main" id="{D7EBDDE5-C58B-4ACB-816E-E74733B4AE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3591" y="2045651"/>
            <a:ext cx="87009" cy="10412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ysClr val="window" lastClr="FFFFFF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81" name="Rectangle 4">
            <a:extLst>
              <a:ext uri="{FF2B5EF4-FFF2-40B4-BE49-F238E27FC236}">
                <a16:creationId xmlns:a16="http://schemas.microsoft.com/office/drawing/2014/main" id="{4EBB7C14-81E0-4E7F-844D-945E4A18278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62316" y="2036805"/>
            <a:ext cx="721666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>
              <a:defRPr/>
            </a:pPr>
            <a:r>
              <a:rPr lang="en-US" sz="1000" kern="0" dirty="0">
                <a:solidFill>
                  <a:sysClr val="windowText" lastClr="000000"/>
                </a:solidFill>
              </a:rPr>
              <a:t>Females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5FDB3236-7931-417C-BEB5-97E77739F01C}"/>
              </a:ext>
            </a:extLst>
          </p:cNvPr>
          <p:cNvCxnSpPr>
            <a:cxnSpLocks/>
          </p:cNvCxnSpPr>
          <p:nvPr/>
        </p:nvCxnSpPr>
        <p:spPr>
          <a:xfrm flipH="1">
            <a:off x="7360049" y="1057680"/>
            <a:ext cx="33030" cy="5211826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9DAE6732-32E5-47AD-8CEE-4DA2A7BFC3D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23895" y="1521553"/>
            <a:ext cx="3955161" cy="2243289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2E30E527-FC92-4D6C-9AD7-E55FEEED47F1}"/>
              </a:ext>
            </a:extLst>
          </p:cNvPr>
          <p:cNvSpPr/>
          <p:nvPr/>
        </p:nvSpPr>
        <p:spPr bwMode="gray">
          <a:xfrm>
            <a:off x="7532674" y="238233"/>
            <a:ext cx="1304938" cy="666287"/>
          </a:xfrm>
          <a:prstGeom prst="ellipse">
            <a:avLst/>
          </a:prstGeom>
          <a:noFill/>
          <a:ln>
            <a:solidFill>
              <a:srgbClr val="FFFFFF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0B34488-E432-436B-B847-7861F32D2297}"/>
              </a:ext>
            </a:extLst>
          </p:cNvPr>
          <p:cNvSpPr/>
          <p:nvPr/>
        </p:nvSpPr>
        <p:spPr bwMode="gray">
          <a:xfrm rot="3189420">
            <a:off x="7761482" y="2771478"/>
            <a:ext cx="762000" cy="262226"/>
          </a:xfrm>
          <a:prstGeom prst="ellipse">
            <a:avLst/>
          </a:prstGeom>
          <a:noFill/>
          <a:ln w="28575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5F4F5A26-D75C-4FCF-8480-257AEB578520}"/>
              </a:ext>
            </a:extLst>
          </p:cNvPr>
          <p:cNvSpPr/>
          <p:nvPr/>
        </p:nvSpPr>
        <p:spPr bwMode="gray">
          <a:xfrm rot="3189420">
            <a:off x="10316081" y="3311088"/>
            <a:ext cx="693831" cy="423766"/>
          </a:xfrm>
          <a:prstGeom prst="ellipse">
            <a:avLst/>
          </a:prstGeom>
          <a:noFill/>
          <a:ln w="28575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864475B4-5745-483F-8D4C-9A6C23E3CC8A}"/>
              </a:ext>
            </a:extLst>
          </p:cNvPr>
          <p:cNvSpPr/>
          <p:nvPr/>
        </p:nvSpPr>
        <p:spPr bwMode="gray">
          <a:xfrm rot="7072078">
            <a:off x="10806009" y="2344585"/>
            <a:ext cx="794727" cy="344559"/>
          </a:xfrm>
          <a:prstGeom prst="ellipse">
            <a:avLst/>
          </a:prstGeom>
          <a:noFill/>
          <a:ln w="28575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F33CF910-6E74-4951-BF65-1699FC392344}"/>
              </a:ext>
            </a:extLst>
          </p:cNvPr>
          <p:cNvSpPr txBox="1"/>
          <p:nvPr/>
        </p:nvSpPr>
        <p:spPr>
          <a:xfrm>
            <a:off x="4329403" y="6146439"/>
            <a:ext cx="5560443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Note:</a:t>
            </a:r>
          </a:p>
          <a:p>
            <a:r>
              <a:rPr lang="en-US" sz="1000" dirty="0">
                <a:solidFill>
                  <a:schemeClr val="tx2"/>
                </a:solidFill>
              </a:rPr>
              <a:t>* Color code represent the size of the membership within the region -- darker color indicate more members.</a:t>
            </a:r>
          </a:p>
          <a:p>
            <a:r>
              <a:rPr lang="en-US" sz="1000" dirty="0">
                <a:solidFill>
                  <a:schemeClr val="tx2"/>
                </a:solidFill>
              </a:rPr>
              <a:t>* Red dots represent the locations of VA hospitals or facilities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0678EC5-00AB-4E27-AB54-3E1C0EFF4A2C}"/>
              </a:ext>
            </a:extLst>
          </p:cNvPr>
          <p:cNvSpPr txBox="1"/>
          <p:nvPr/>
        </p:nvSpPr>
        <p:spPr>
          <a:xfrm>
            <a:off x="7667150" y="4309309"/>
            <a:ext cx="444539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Most of the general MAPD Members Pennsylvania, Florida and Texa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/>
              </a:solidFill>
              <a:latin typeface="Open Sans" charset="0"/>
              <a:ea typeface="Open Sans" charset="0"/>
              <a:cs typeface="Open Sans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Most VA Facilities are concentrated in the northeast region, Florida and Californi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8846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:a16="http://schemas.microsoft.com/office/drawing/2014/main" id="{F3E86CD1-DFB9-4C2F-99E3-150EC6E5A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0012" y="388854"/>
            <a:ext cx="10334305" cy="731330"/>
          </a:xfrm>
        </p:spPr>
        <p:txBody>
          <a:bodyPr/>
          <a:lstStyle/>
          <a:p>
            <a:r>
              <a:rPr lang="en-US" sz="2900" dirty="0">
                <a:solidFill>
                  <a:srgbClr val="C00000"/>
                </a:solidFill>
              </a:rPr>
              <a:t>Confusion Matrix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439F9CD-1329-4060-8810-53E39EA726DB}"/>
              </a:ext>
            </a:extLst>
          </p:cNvPr>
          <p:cNvGrpSpPr/>
          <p:nvPr/>
        </p:nvGrpSpPr>
        <p:grpSpPr>
          <a:xfrm>
            <a:off x="379413" y="400640"/>
            <a:ext cx="708848" cy="707758"/>
            <a:chOff x="-1706746" y="1081861"/>
            <a:chExt cx="709034" cy="70794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3E874E8-4B79-414A-8D14-1F160226229D}"/>
                </a:ext>
              </a:extLst>
            </p:cNvPr>
            <p:cNvSpPr/>
            <p:nvPr/>
          </p:nvSpPr>
          <p:spPr>
            <a:xfrm>
              <a:off x="-1706746" y="1081861"/>
              <a:ext cx="709034" cy="7079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999" b="1" dirty="0">
                  <a:solidFill>
                    <a:srgbClr val="C00000"/>
                  </a:solidFill>
                  <a:latin typeface="Domaine Display Bold" panose="020A0803080505060203" pitchFamily="18" charset="0"/>
                  <a:ea typeface="Open Sans" panose="020B0606030504020204" pitchFamily="34" charset="0"/>
                  <a:cs typeface="Open Sans" panose="020B0606030504020204" pitchFamily="34" charset="0"/>
                </a:rPr>
                <a:t>19</a:t>
              </a: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568CECFF-4C21-43B1-AE6B-2AF23C736F0B}"/>
                </a:ext>
              </a:extLst>
            </p:cNvPr>
            <p:cNvCxnSpPr/>
            <p:nvPr/>
          </p:nvCxnSpPr>
          <p:spPr>
            <a:xfrm>
              <a:off x="-1093072" y="1252641"/>
              <a:ext cx="0" cy="4262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Oval 4">
            <a:extLst>
              <a:ext uri="{FF2B5EF4-FFF2-40B4-BE49-F238E27FC236}">
                <a16:creationId xmlns:a16="http://schemas.microsoft.com/office/drawing/2014/main" id="{2E30E527-FC92-4D6C-9AD7-E55FEEED47F1}"/>
              </a:ext>
            </a:extLst>
          </p:cNvPr>
          <p:cNvSpPr/>
          <p:nvPr/>
        </p:nvSpPr>
        <p:spPr bwMode="gray">
          <a:xfrm>
            <a:off x="7532674" y="238233"/>
            <a:ext cx="1304938" cy="666287"/>
          </a:xfrm>
          <a:prstGeom prst="ellipse">
            <a:avLst/>
          </a:prstGeom>
          <a:noFill/>
          <a:ln>
            <a:solidFill>
              <a:srgbClr val="FFFFFF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E000005-FB47-4D5E-9A9D-B29778F7DD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3412" y="1270805"/>
            <a:ext cx="7077075" cy="264795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800F9C9-32D7-4015-BD06-CFFAE07F68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51171" y="4419600"/>
            <a:ext cx="4600575" cy="12954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C30E974C-273D-4549-B50B-978B7BEC3FB2}"/>
                  </a:ext>
                </a:extLst>
              </p:cNvPr>
              <p:cNvSpPr txBox="1"/>
              <p:nvPr/>
            </p:nvSpPr>
            <p:spPr>
              <a:xfrm>
                <a:off x="6417911" y="4343400"/>
                <a:ext cx="4839402" cy="113204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2400" dirty="0">
                    <a:solidFill>
                      <a:schemeClr val="tx2"/>
                    </a:solidFill>
                  </a:rPr>
                  <a:t>Precision =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240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24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𝑇𝑟𝑢𝑒</m:t>
                        </m:r>
                        <m:r>
                          <a:rPr lang="en-US" sz="24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4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𝑃𝑜𝑠𝑖𝑡𝑖𝑣𝑒</m:t>
                        </m:r>
                      </m:num>
                      <m:den>
                        <m:r>
                          <a:rPr lang="en-US" sz="24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𝑇𝑟𝑢𝑒</m:t>
                        </m:r>
                        <m:r>
                          <a:rPr lang="en-US" sz="24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4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𝑃𝑜𝑠𝑖𝑡𝑖𝑣𝑒</m:t>
                        </m:r>
                        <m:r>
                          <a:rPr lang="en-US" sz="24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 sz="24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𝐹𝑎𝑙𝑠𝑒</m:t>
                        </m:r>
                        <m:r>
                          <a:rPr lang="en-US" sz="24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24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𝑁𝑒𝑔𝑎𝑡𝑖𝑣𝑒</m:t>
                        </m:r>
                      </m:den>
                    </m:f>
                  </m:oMath>
                </a14:m>
                <a:endParaRPr lang="en-US" sz="2400" dirty="0">
                  <a:solidFill>
                    <a:schemeClr val="tx2"/>
                  </a:solidFill>
                </a:endParaRPr>
              </a:p>
              <a:p>
                <a:r>
                  <a:rPr lang="en-US" sz="2400" dirty="0">
                    <a:solidFill>
                      <a:schemeClr val="tx2"/>
                    </a:solidFill>
                  </a:rPr>
                  <a:t>	   =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240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24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8,176</m:t>
                        </m:r>
                      </m:num>
                      <m:den>
                        <m:r>
                          <a:rPr lang="en-US" sz="24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8,176+726</m:t>
                        </m:r>
                      </m:den>
                    </m:f>
                    <m:r>
                      <a:rPr lang="en-US" sz="2400" b="0" i="1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</a:rPr>
                      <m:t>=0.918</m:t>
                    </m:r>
                  </m:oMath>
                </a14:m>
                <a:endParaRPr lang="en-US" sz="24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C30E974C-273D-4549-B50B-978B7BEC3FB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17911" y="4343400"/>
                <a:ext cx="4839402" cy="1132041"/>
              </a:xfrm>
              <a:prstGeom prst="rect">
                <a:avLst/>
              </a:prstGeom>
              <a:blipFill>
                <a:blip r:embed="rId5"/>
                <a:stretch>
                  <a:fillRect l="-3904" t="-1081" b="-594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925127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:a16="http://schemas.microsoft.com/office/drawing/2014/main" id="{F3E86CD1-DFB9-4C2F-99E3-150EC6E5A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0012" y="388854"/>
            <a:ext cx="10334305" cy="731330"/>
          </a:xfrm>
        </p:spPr>
        <p:txBody>
          <a:bodyPr/>
          <a:lstStyle/>
          <a:p>
            <a:r>
              <a:rPr lang="en-US" sz="2900" dirty="0">
                <a:solidFill>
                  <a:srgbClr val="C00000"/>
                </a:solidFill>
              </a:rPr>
              <a:t>Prediction Valid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439F9CD-1329-4060-8810-53E39EA726DB}"/>
              </a:ext>
            </a:extLst>
          </p:cNvPr>
          <p:cNvGrpSpPr/>
          <p:nvPr/>
        </p:nvGrpSpPr>
        <p:grpSpPr>
          <a:xfrm>
            <a:off x="379412" y="400640"/>
            <a:ext cx="835485" cy="707758"/>
            <a:chOff x="-1706746" y="1081861"/>
            <a:chExt cx="835704" cy="70794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3E874E8-4B79-414A-8D14-1F160226229D}"/>
                </a:ext>
              </a:extLst>
            </p:cNvPr>
            <p:cNvSpPr/>
            <p:nvPr/>
          </p:nvSpPr>
          <p:spPr>
            <a:xfrm>
              <a:off x="-1706746" y="1081861"/>
              <a:ext cx="835704" cy="7079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999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Domaine Display Bold" panose="020A0803080505060203" pitchFamily="18" charset="0"/>
                  <a:ea typeface="Open Sans" panose="020B0606030504020204" pitchFamily="34" charset="0"/>
                  <a:cs typeface="Open Sans" panose="020B0606030504020204" pitchFamily="34" charset="0"/>
                </a:rPr>
                <a:t>20</a:t>
              </a: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568CECFF-4C21-43B1-AE6B-2AF23C736F0B}"/>
                </a:ext>
              </a:extLst>
            </p:cNvPr>
            <p:cNvCxnSpPr/>
            <p:nvPr/>
          </p:nvCxnSpPr>
          <p:spPr>
            <a:xfrm>
              <a:off x="-871042" y="1214656"/>
              <a:ext cx="0" cy="4262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Oval 4">
            <a:extLst>
              <a:ext uri="{FF2B5EF4-FFF2-40B4-BE49-F238E27FC236}">
                <a16:creationId xmlns:a16="http://schemas.microsoft.com/office/drawing/2014/main" id="{2E30E527-FC92-4D6C-9AD7-E55FEEED47F1}"/>
              </a:ext>
            </a:extLst>
          </p:cNvPr>
          <p:cNvSpPr/>
          <p:nvPr/>
        </p:nvSpPr>
        <p:spPr bwMode="gray">
          <a:xfrm>
            <a:off x="7532674" y="238233"/>
            <a:ext cx="1304938" cy="666287"/>
          </a:xfrm>
          <a:prstGeom prst="ellipse">
            <a:avLst/>
          </a:prstGeom>
          <a:noFill/>
          <a:ln>
            <a:solidFill>
              <a:srgbClr val="FFFFFF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AD4C44C-836C-447E-882E-A1912BC31E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2200072"/>
              </p:ext>
            </p:extLst>
          </p:nvPr>
        </p:nvGraphicFramePr>
        <p:xfrm>
          <a:off x="1065212" y="2209800"/>
          <a:ext cx="9105900" cy="748665"/>
        </p:xfrm>
        <a:graphic>
          <a:graphicData uri="http://schemas.openxmlformats.org/drawingml/2006/table">
            <a:tbl>
              <a:tblPr firstRow="1" firstCol="1" bandRow="1"/>
              <a:tblGrid>
                <a:gridCol w="1069515">
                  <a:extLst>
                    <a:ext uri="{9D8B030D-6E8A-4147-A177-3AD203B41FA5}">
                      <a16:colId xmlns:a16="http://schemas.microsoft.com/office/drawing/2014/main" val="2699309173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val="1619072163"/>
                    </a:ext>
                  </a:extLst>
                </a:gridCol>
                <a:gridCol w="1483185">
                  <a:extLst>
                    <a:ext uri="{9D8B030D-6E8A-4147-A177-3AD203B41FA5}">
                      <a16:colId xmlns:a16="http://schemas.microsoft.com/office/drawing/2014/main" val="745160477"/>
                    </a:ext>
                  </a:extLst>
                </a:gridCol>
                <a:gridCol w="1155700">
                  <a:extLst>
                    <a:ext uri="{9D8B030D-6E8A-4147-A177-3AD203B41FA5}">
                      <a16:colId xmlns:a16="http://schemas.microsoft.com/office/drawing/2014/main" val="1680114823"/>
                    </a:ext>
                  </a:extLst>
                </a:gridCol>
                <a:gridCol w="1054100">
                  <a:extLst>
                    <a:ext uri="{9D8B030D-6E8A-4147-A177-3AD203B41FA5}">
                      <a16:colId xmlns:a16="http://schemas.microsoft.com/office/drawing/2014/main" val="4199475012"/>
                    </a:ext>
                  </a:extLst>
                </a:gridCol>
                <a:gridCol w="1181100">
                  <a:extLst>
                    <a:ext uri="{9D8B030D-6E8A-4147-A177-3AD203B41FA5}">
                      <a16:colId xmlns:a16="http://schemas.microsoft.com/office/drawing/2014/main" val="3738110775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val="846737501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4068882121"/>
                    </a:ext>
                  </a:extLst>
                </a:gridCol>
              </a:tblGrid>
              <a:tr h="40005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tat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tate </a:t>
                      </a:r>
                      <a:b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bbreviatio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opulation Age 65+ </a:t>
                      </a:r>
                      <a:b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Year 201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Veteran Age 65+</a:t>
                      </a:r>
                      <a:b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Year 201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ctual Veteran </a:t>
                      </a:r>
                      <a:b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ercentag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etna Membership </a:t>
                      </a:r>
                      <a:b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07/202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redicted </a:t>
                      </a:r>
                      <a:b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Veteran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redicted Veterans </a:t>
                      </a:r>
                      <a:b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ercentag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8602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otal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--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54,074,028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8,770,42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6.2%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,577,187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41,10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1.6%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053454"/>
                  </a:ext>
                </a:extLst>
              </a:tr>
            </a:tbl>
          </a:graphicData>
        </a:graphic>
      </p:graphicFrame>
      <p:sp>
        <p:nvSpPr>
          <p:cNvPr id="11" name="AutoShape 5">
            <a:extLst>
              <a:ext uri="{FF2B5EF4-FFF2-40B4-BE49-F238E27FC236}">
                <a16:creationId xmlns:a16="http://schemas.microsoft.com/office/drawing/2014/main" id="{CAF73180-A6EA-404B-8205-146559729BAC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3703" y="1220249"/>
            <a:ext cx="11091336" cy="576404"/>
          </a:xfrm>
          <a:prstGeom prst="homePlate">
            <a:avLst>
              <a:gd name="adj" fmla="val 21760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algn="ctr"/>
            <a:r>
              <a:rPr lang="en-US" altLang="de-DE" sz="1600" b="1" noProof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edicted veteran counts are higher than the actual  counts based on the census data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0C1DB558-74F2-4DF9-A9E3-346477757DA9}"/>
              </a:ext>
            </a:extLst>
          </p:cNvPr>
          <p:cNvSpPr txBox="1">
            <a:spLocks/>
          </p:cNvSpPr>
          <p:nvPr/>
        </p:nvSpPr>
        <p:spPr>
          <a:xfrm>
            <a:off x="1345420" y="1796653"/>
            <a:ext cx="2073365" cy="399206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ts val="1800"/>
              </a:spcBef>
              <a:buClrTx/>
              <a:buFont typeface="Arial"/>
              <a:buNone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457200" rtl="0" eaLnBrk="1" latinLnBrk="0" hangingPunct="1">
              <a:spcBef>
                <a:spcPts val="12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457200" rtl="0" eaLnBrk="1" latinLnBrk="0" hangingPunct="1">
              <a:spcBef>
                <a:spcPts val="600"/>
              </a:spcBef>
              <a:buClrTx/>
              <a:buFont typeface="Lucida Grande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8580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0287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206500" indent="-17780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3716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1600" b="1" dirty="0">
                <a:solidFill>
                  <a:srgbClr val="3F3F3F"/>
                </a:solidFill>
                <a:latin typeface="Arial"/>
              </a:rPr>
              <a:t>Nationwide: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7AFE7501-D4FD-4BF6-8B3B-41B9B4A757EA}"/>
              </a:ext>
            </a:extLst>
          </p:cNvPr>
          <p:cNvSpPr txBox="1">
            <a:spLocks/>
          </p:cNvSpPr>
          <p:nvPr/>
        </p:nvSpPr>
        <p:spPr>
          <a:xfrm>
            <a:off x="1332330" y="3229397"/>
            <a:ext cx="2073365" cy="399206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ts val="1800"/>
              </a:spcBef>
              <a:buClrTx/>
              <a:buFont typeface="Arial"/>
              <a:buNone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457200" rtl="0" eaLnBrk="1" latinLnBrk="0" hangingPunct="1">
              <a:spcBef>
                <a:spcPts val="12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457200" rtl="0" eaLnBrk="1" latinLnBrk="0" hangingPunct="1">
              <a:spcBef>
                <a:spcPts val="600"/>
              </a:spcBef>
              <a:buClrTx/>
              <a:buFont typeface="Lucida Grande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8580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0287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206500" indent="-17780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3716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1600" b="1" dirty="0">
                <a:solidFill>
                  <a:srgbClr val="3F3F3F"/>
                </a:solidFill>
                <a:latin typeface="Arial"/>
              </a:rPr>
              <a:t>IL: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5D7ACF12-F0B2-49A7-97FA-979FDB4248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4963629"/>
              </p:ext>
            </p:extLst>
          </p:nvPr>
        </p:nvGraphicFramePr>
        <p:xfrm>
          <a:off x="1065212" y="3657600"/>
          <a:ext cx="9143132" cy="748665"/>
        </p:xfrm>
        <a:graphic>
          <a:graphicData uri="http://schemas.openxmlformats.org/drawingml/2006/table">
            <a:tbl>
              <a:tblPr firstRow="1" firstCol="1" bandRow="1"/>
              <a:tblGrid>
                <a:gridCol w="838949">
                  <a:extLst>
                    <a:ext uri="{9D8B030D-6E8A-4147-A177-3AD203B41FA5}">
                      <a16:colId xmlns:a16="http://schemas.microsoft.com/office/drawing/2014/main" val="1746640150"/>
                    </a:ext>
                  </a:extLst>
                </a:gridCol>
                <a:gridCol w="1948070">
                  <a:extLst>
                    <a:ext uri="{9D8B030D-6E8A-4147-A177-3AD203B41FA5}">
                      <a16:colId xmlns:a16="http://schemas.microsoft.com/office/drawing/2014/main" val="865383823"/>
                    </a:ext>
                  </a:extLst>
                </a:gridCol>
                <a:gridCol w="1421948">
                  <a:extLst>
                    <a:ext uri="{9D8B030D-6E8A-4147-A177-3AD203B41FA5}">
                      <a16:colId xmlns:a16="http://schemas.microsoft.com/office/drawing/2014/main" val="2854947472"/>
                    </a:ext>
                  </a:extLst>
                </a:gridCol>
                <a:gridCol w="1180218">
                  <a:extLst>
                    <a:ext uri="{9D8B030D-6E8A-4147-A177-3AD203B41FA5}">
                      <a16:colId xmlns:a16="http://schemas.microsoft.com/office/drawing/2014/main" val="2476111541"/>
                    </a:ext>
                  </a:extLst>
                </a:gridCol>
                <a:gridCol w="1493047">
                  <a:extLst>
                    <a:ext uri="{9D8B030D-6E8A-4147-A177-3AD203B41FA5}">
                      <a16:colId xmlns:a16="http://schemas.microsoft.com/office/drawing/2014/main" val="1382363222"/>
                    </a:ext>
                  </a:extLst>
                </a:gridCol>
                <a:gridCol w="782073">
                  <a:extLst>
                    <a:ext uri="{9D8B030D-6E8A-4147-A177-3AD203B41FA5}">
                      <a16:colId xmlns:a16="http://schemas.microsoft.com/office/drawing/2014/main" val="3689550433"/>
                    </a:ext>
                  </a:extLst>
                </a:gridCol>
                <a:gridCol w="1478827">
                  <a:extLst>
                    <a:ext uri="{9D8B030D-6E8A-4147-A177-3AD203B41FA5}">
                      <a16:colId xmlns:a16="http://schemas.microsoft.com/office/drawing/2014/main" val="893285034"/>
                    </a:ext>
                  </a:extLst>
                </a:gridCol>
              </a:tblGrid>
              <a:tr h="49911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County</a:t>
                      </a:r>
                      <a:b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opulation Age 65+ </a:t>
                      </a:r>
                      <a:b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Year 201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Veteran Age 65+</a:t>
                      </a:r>
                      <a:b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Year 201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ctual Veteran </a:t>
                      </a:r>
                      <a:b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ercentag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etna Membership </a:t>
                      </a:r>
                      <a:b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07/202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redicted </a:t>
                      </a:r>
                      <a:b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Veteran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redicted Veterans </a:t>
                      </a:r>
                      <a:br>
                        <a:rPr lang="en-US" sz="12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ercentag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8534755"/>
                  </a:ext>
                </a:extLst>
              </a:tr>
              <a:tr h="24955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otal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,686,82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414,28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4.6%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84,73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0,09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5.5%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9716604"/>
                  </a:ext>
                </a:extLst>
              </a:tr>
            </a:tbl>
          </a:graphicData>
        </a:graphic>
      </p:graphicFrame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B2FA7AE4-DFD8-4D54-8723-B681B98FD27A}"/>
              </a:ext>
            </a:extLst>
          </p:cNvPr>
          <p:cNvSpPr txBox="1">
            <a:spLocks/>
          </p:cNvSpPr>
          <p:nvPr/>
        </p:nvSpPr>
        <p:spPr>
          <a:xfrm>
            <a:off x="1332330" y="4704878"/>
            <a:ext cx="2073365" cy="399206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ts val="1800"/>
              </a:spcBef>
              <a:buClrTx/>
              <a:buFont typeface="Arial"/>
              <a:buNone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457200" rtl="0" eaLnBrk="1" latinLnBrk="0" hangingPunct="1">
              <a:spcBef>
                <a:spcPts val="12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457200" rtl="0" eaLnBrk="1" latinLnBrk="0" hangingPunct="1">
              <a:spcBef>
                <a:spcPts val="600"/>
              </a:spcBef>
              <a:buClrTx/>
              <a:buFont typeface="Lucida Grande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8580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0287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206500" indent="-17780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3716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1600" b="1" dirty="0">
                <a:solidFill>
                  <a:srgbClr val="3F3F3F"/>
                </a:solidFill>
                <a:latin typeface="Arial"/>
              </a:rPr>
              <a:t>NY: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1CF3EC12-CEE5-4670-B9F8-8FECFFD41C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9341198"/>
              </p:ext>
            </p:extLst>
          </p:nvPr>
        </p:nvGraphicFramePr>
        <p:xfrm>
          <a:off x="1066348" y="5237701"/>
          <a:ext cx="9141996" cy="800100"/>
        </p:xfrm>
        <a:graphic>
          <a:graphicData uri="http://schemas.openxmlformats.org/drawingml/2006/table">
            <a:tbl>
              <a:tblPr firstRow="1" firstCol="1" bandRow="1"/>
              <a:tblGrid>
                <a:gridCol w="944244">
                  <a:extLst>
                    <a:ext uri="{9D8B030D-6E8A-4147-A177-3AD203B41FA5}">
                      <a16:colId xmlns:a16="http://schemas.microsoft.com/office/drawing/2014/main" val="15150114"/>
                    </a:ext>
                  </a:extLst>
                </a:gridCol>
                <a:gridCol w="1960021">
                  <a:extLst>
                    <a:ext uri="{9D8B030D-6E8A-4147-A177-3AD203B41FA5}">
                      <a16:colId xmlns:a16="http://schemas.microsoft.com/office/drawing/2014/main" val="1747894642"/>
                    </a:ext>
                  </a:extLst>
                </a:gridCol>
                <a:gridCol w="1273298">
                  <a:extLst>
                    <a:ext uri="{9D8B030D-6E8A-4147-A177-3AD203B41FA5}">
                      <a16:colId xmlns:a16="http://schemas.microsoft.com/office/drawing/2014/main" val="253205037"/>
                    </a:ext>
                  </a:extLst>
                </a:gridCol>
                <a:gridCol w="1187458">
                  <a:extLst>
                    <a:ext uri="{9D8B030D-6E8A-4147-A177-3AD203B41FA5}">
                      <a16:colId xmlns:a16="http://schemas.microsoft.com/office/drawing/2014/main" val="2429523136"/>
                    </a:ext>
                  </a:extLst>
                </a:gridCol>
                <a:gridCol w="1502206">
                  <a:extLst>
                    <a:ext uri="{9D8B030D-6E8A-4147-A177-3AD203B41FA5}">
                      <a16:colId xmlns:a16="http://schemas.microsoft.com/office/drawing/2014/main" val="2175440603"/>
                    </a:ext>
                  </a:extLst>
                </a:gridCol>
                <a:gridCol w="786870">
                  <a:extLst>
                    <a:ext uri="{9D8B030D-6E8A-4147-A177-3AD203B41FA5}">
                      <a16:colId xmlns:a16="http://schemas.microsoft.com/office/drawing/2014/main" val="3186905587"/>
                    </a:ext>
                  </a:extLst>
                </a:gridCol>
                <a:gridCol w="1487899">
                  <a:extLst>
                    <a:ext uri="{9D8B030D-6E8A-4147-A177-3AD203B41FA5}">
                      <a16:colId xmlns:a16="http://schemas.microsoft.com/office/drawing/2014/main" val="358024765"/>
                    </a:ext>
                  </a:extLst>
                </a:gridCol>
              </a:tblGrid>
              <a:tr h="60007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County</a:t>
                      </a:r>
                      <a:b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opulation Age 65+ </a:t>
                      </a:r>
                      <a:b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Year 201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Veteran Age 65+</a:t>
                      </a:r>
                      <a:b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Year 201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ctual Veteran </a:t>
                      </a:r>
                      <a:b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ercentag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etna Membership </a:t>
                      </a:r>
                      <a:b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07/202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redicted </a:t>
                      </a:r>
                      <a:b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Veteran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redicted Veterans </a:t>
                      </a:r>
                      <a:br>
                        <a:rPr lang="en-US" sz="12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ercentag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524162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otal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,091,77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590,80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9.1%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89,74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8,84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3.7%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32274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2653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Rectangle 2">
            <a:extLst>
              <a:ext uri="{FF2B5EF4-FFF2-40B4-BE49-F238E27FC236}">
                <a16:creationId xmlns:a16="http://schemas.microsoft.com/office/drawing/2014/main" id="{F158B075-F210-4B0D-A887-9A5986B99F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7102" y="1620318"/>
            <a:ext cx="5671883" cy="4704282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190500" marR="0" lvl="0" indent="-19050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969696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1">
              <a:ln>
                <a:noFill/>
              </a:ln>
              <a:solidFill>
                <a:sysClr val="window" lastClr="FFFFFF">
                  <a:lumMod val="50000"/>
                </a:sysClr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uLnTx/>
              <a:uFillTx/>
              <a:latin typeface="Open Sans Light"/>
              <a:ea typeface="+mn-ea"/>
              <a:cs typeface="Arial" charset="0"/>
            </a:endParaRPr>
          </a:p>
        </p:txBody>
      </p:sp>
      <p:sp>
        <p:nvSpPr>
          <p:cNvPr id="43" name="Title 2"/>
          <p:cNvSpPr>
            <a:spLocks noGrp="1"/>
          </p:cNvSpPr>
          <p:nvPr>
            <p:ph type="title"/>
          </p:nvPr>
        </p:nvSpPr>
        <p:spPr>
          <a:xfrm>
            <a:off x="1275182" y="304757"/>
            <a:ext cx="8534400" cy="731330"/>
          </a:xfrm>
        </p:spPr>
        <p:txBody>
          <a:bodyPr/>
          <a:lstStyle/>
          <a:p>
            <a:r>
              <a:rPr lang="en-US" sz="2800" dirty="0">
                <a:solidFill>
                  <a:srgbClr val="C00000"/>
                </a:solidFill>
              </a:rPr>
              <a:t>Veteran Modeling Strategy</a:t>
            </a:r>
          </a:p>
        </p:txBody>
      </p:sp>
      <p:pic>
        <p:nvPicPr>
          <p:cNvPr id="20" name="Graphic 19" descr="Call center">
            <a:extLst>
              <a:ext uri="{FF2B5EF4-FFF2-40B4-BE49-F238E27FC236}">
                <a16:creationId xmlns:a16="http://schemas.microsoft.com/office/drawing/2014/main" id="{189D2F8A-0EC4-48E3-80C7-D2E1D8F4DE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10542" y="2794347"/>
            <a:ext cx="430862" cy="400208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E1A16EA5-18B9-4E49-AFCE-34CC91CAB23D}"/>
              </a:ext>
            </a:extLst>
          </p:cNvPr>
          <p:cNvGrpSpPr/>
          <p:nvPr/>
        </p:nvGrpSpPr>
        <p:grpSpPr>
          <a:xfrm>
            <a:off x="7931770" y="2734736"/>
            <a:ext cx="3705561" cy="2636657"/>
            <a:chOff x="1711167" y="2900043"/>
            <a:chExt cx="3705561" cy="2636657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7774730C-7A3E-47E7-B163-809455E332D3}"/>
                </a:ext>
              </a:extLst>
            </p:cNvPr>
            <p:cNvGrpSpPr/>
            <p:nvPr/>
          </p:nvGrpSpPr>
          <p:grpSpPr>
            <a:xfrm>
              <a:off x="1711167" y="2900043"/>
              <a:ext cx="3705561" cy="2636657"/>
              <a:chOff x="86662" y="1811317"/>
              <a:chExt cx="5051369" cy="4020763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8954BD8-04AC-4AD6-97A0-CA564E6CE41F}"/>
                  </a:ext>
                </a:extLst>
              </p:cNvPr>
              <p:cNvGrpSpPr/>
              <p:nvPr/>
            </p:nvGrpSpPr>
            <p:grpSpPr>
              <a:xfrm>
                <a:off x="760412" y="2590800"/>
                <a:ext cx="2819392" cy="2133600"/>
                <a:chOff x="4189412" y="2057401"/>
                <a:chExt cx="3657600" cy="2362200"/>
              </a:xfrm>
            </p:grpSpPr>
            <p:graphicFrame>
              <p:nvGraphicFramePr>
                <p:cNvPr id="44" name="Diagram 43">
                  <a:extLst>
                    <a:ext uri="{FF2B5EF4-FFF2-40B4-BE49-F238E27FC236}">
                      <a16:creationId xmlns:a16="http://schemas.microsoft.com/office/drawing/2014/main" id="{F1B8655C-7D03-4BCE-9B1D-7F0EA749F5DF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1272425815"/>
                    </p:ext>
                  </p:extLst>
                </p:nvPr>
              </p:nvGraphicFramePr>
              <p:xfrm>
                <a:off x="4189412" y="2057401"/>
                <a:ext cx="3657600" cy="2362200"/>
              </p:xfrm>
              <a:graphic>
                <a:graphicData uri="http://schemas.openxmlformats.org/drawingml/2006/diagram">
                  <dgm:relIds xmlns:dgm="http://schemas.openxmlformats.org/drawingml/2006/diagram" xmlns:r="http://schemas.openxmlformats.org/officeDocument/2006/relationships" r:dm="rId5" r:lo="rId6" r:qs="rId7" r:cs="rId8"/>
                </a:graphicData>
              </a:graphic>
            </p:graphicFrame>
            <p:pic>
              <p:nvPicPr>
                <p:cNvPr id="46" name="Graphic 45" descr="Users">
                  <a:extLst>
                    <a:ext uri="{FF2B5EF4-FFF2-40B4-BE49-F238E27FC236}">
                      <a16:creationId xmlns:a16="http://schemas.microsoft.com/office/drawing/2014/main" id="{2FA80784-3FF4-4ACA-8BA3-EA2B5AB567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80012" y="2400301"/>
                  <a:ext cx="1676400" cy="1676400"/>
                </a:xfrm>
                <a:prstGeom prst="rect">
                  <a:avLst/>
                </a:prstGeom>
              </p:spPr>
            </p:pic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3E99A59E-BFFC-4149-B09F-F67B7646D237}"/>
                  </a:ext>
                </a:extLst>
              </p:cNvPr>
              <p:cNvGrpSpPr/>
              <p:nvPr/>
            </p:nvGrpSpPr>
            <p:grpSpPr>
              <a:xfrm>
                <a:off x="86662" y="1811317"/>
                <a:ext cx="5051369" cy="4020763"/>
                <a:chOff x="430846" y="1459169"/>
                <a:chExt cx="5638672" cy="4333075"/>
              </a:xfrm>
            </p:grpSpPr>
            <p:pic>
              <p:nvPicPr>
                <p:cNvPr id="28" name="Graphic 27" descr="Medicine">
                  <a:extLst>
                    <a:ext uri="{FF2B5EF4-FFF2-40B4-BE49-F238E27FC236}">
                      <a16:creationId xmlns:a16="http://schemas.microsoft.com/office/drawing/2014/main" id="{03CE2D43-1EBB-4F9F-8DAB-5A5B7141923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89560" y="4582956"/>
                  <a:ext cx="579957" cy="579958"/>
                </a:xfrm>
                <a:prstGeom prst="rect">
                  <a:avLst/>
                </a:prstGeom>
              </p:spPr>
            </p:pic>
            <p:pic>
              <p:nvPicPr>
                <p:cNvPr id="30" name="Graphic 29" descr="Doctor">
                  <a:extLst>
                    <a:ext uri="{FF2B5EF4-FFF2-40B4-BE49-F238E27FC236}">
                      <a16:creationId xmlns:a16="http://schemas.microsoft.com/office/drawing/2014/main" id="{6B9654C5-6925-4DF0-B26B-79208EF40AB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81231" y="2461750"/>
                  <a:ext cx="623625" cy="623625"/>
                </a:xfrm>
                <a:prstGeom prst="rect">
                  <a:avLst/>
                </a:prstGeom>
              </p:spPr>
            </p:pic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B7BC364F-DAFD-47A1-A9D2-800976A5176A}"/>
                    </a:ext>
                  </a:extLst>
                </p:cNvPr>
                <p:cNvSpPr txBox="1"/>
                <p:nvPr/>
              </p:nvSpPr>
              <p:spPr>
                <a:xfrm>
                  <a:off x="4530882" y="2374509"/>
                  <a:ext cx="985117" cy="52110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defTabSz="456758" fontAlgn="base">
                    <a:spcBef>
                      <a:spcPts val="1200"/>
                    </a:spcBef>
                  </a:pPr>
                  <a:endParaRPr lang="en-US" sz="1200" b="0" i="0" dirty="0">
                    <a:solidFill>
                      <a:schemeClr val="tx2"/>
                    </a:solidFill>
                    <a:latin typeface="Open Sans" charset="0"/>
                    <a:ea typeface="Open Sans" charset="0"/>
                    <a:cs typeface="Open Sans" charset="0"/>
                  </a:endParaRPr>
                </a:p>
              </p:txBody>
            </p: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59E622FA-56BC-4B33-B455-7956317ADA2F}"/>
                    </a:ext>
                  </a:extLst>
                </p:cNvPr>
                <p:cNvSpPr txBox="1"/>
                <p:nvPr/>
              </p:nvSpPr>
              <p:spPr>
                <a:xfrm>
                  <a:off x="3162980" y="1459169"/>
                  <a:ext cx="2008871" cy="75135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defTabSz="456758" fontAlgn="base">
                    <a:spcBef>
                      <a:spcPts val="1200"/>
                    </a:spcBef>
                  </a:pPr>
                  <a:r>
                    <a:rPr lang="en-US" sz="900" b="1" dirty="0">
                      <a:solidFill>
                        <a:schemeClr val="tx2"/>
                      </a:solidFill>
                      <a:latin typeface="Open Sans" charset="0"/>
                      <a:ea typeface="Open Sans" charset="0"/>
                      <a:cs typeface="Open Sans" charset="0"/>
                    </a:rPr>
                    <a:t>Member Experience- Call  and Grievances </a:t>
                  </a:r>
                  <a:endParaRPr lang="en-US" sz="900" b="1" i="0" dirty="0">
                    <a:solidFill>
                      <a:schemeClr val="tx2"/>
                    </a:solidFill>
                    <a:latin typeface="Open Sans" charset="0"/>
                    <a:ea typeface="Open Sans" charset="0"/>
                    <a:cs typeface="Open Sans" charset="0"/>
                  </a:endParaRPr>
                </a:p>
              </p:txBody>
            </p:sp>
            <p:sp>
              <p:nvSpPr>
                <p:cNvPr id="38" name="TextBox 37">
                  <a:extLst>
                    <a:ext uri="{FF2B5EF4-FFF2-40B4-BE49-F238E27FC236}">
                      <a16:creationId xmlns:a16="http://schemas.microsoft.com/office/drawing/2014/main" id="{7796A278-D9CE-433A-80DD-7339BBE0DBD2}"/>
                    </a:ext>
                  </a:extLst>
                </p:cNvPr>
                <p:cNvSpPr txBox="1"/>
                <p:nvPr/>
              </p:nvSpPr>
              <p:spPr>
                <a:xfrm>
                  <a:off x="622421" y="4201218"/>
                  <a:ext cx="1346871" cy="52110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defTabSz="456758" fontAlgn="base">
                    <a:spcBef>
                      <a:spcPts val="1200"/>
                    </a:spcBef>
                  </a:pPr>
                  <a:r>
                    <a:rPr lang="en-US" sz="900" b="1" dirty="0">
                      <a:solidFill>
                        <a:schemeClr val="tx2"/>
                      </a:solidFill>
                      <a:latin typeface="Open Sans" charset="0"/>
                      <a:ea typeface="Open Sans" charset="0"/>
                      <a:cs typeface="Open Sans" charset="0"/>
                    </a:rPr>
                    <a:t>HEDIS and Patient Safety Compliance</a:t>
                  </a:r>
                  <a:endParaRPr lang="en-US" sz="900" b="1" i="0" dirty="0">
                    <a:solidFill>
                      <a:schemeClr val="tx2"/>
                    </a:solidFill>
                    <a:latin typeface="Open Sans" charset="0"/>
                    <a:ea typeface="Open Sans" charset="0"/>
                    <a:cs typeface="Open Sans" charset="0"/>
                  </a:endParaRPr>
                </a:p>
              </p:txBody>
            </p:sp>
            <p:sp>
              <p:nvSpPr>
                <p:cNvPr id="39" name="TextBox 38">
                  <a:extLst>
                    <a:ext uri="{FF2B5EF4-FFF2-40B4-BE49-F238E27FC236}">
                      <a16:creationId xmlns:a16="http://schemas.microsoft.com/office/drawing/2014/main" id="{645502D2-BF5A-4689-A823-80EDE5DB5A71}"/>
                    </a:ext>
                  </a:extLst>
                </p:cNvPr>
                <p:cNvSpPr txBox="1"/>
                <p:nvPr/>
              </p:nvSpPr>
              <p:spPr>
                <a:xfrm>
                  <a:off x="3661218" y="4970744"/>
                  <a:ext cx="1854766" cy="57167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defTabSz="456758" fontAlgn="base">
                    <a:spcBef>
                      <a:spcPts val="1200"/>
                    </a:spcBef>
                  </a:pPr>
                  <a:endParaRPr lang="en-US" sz="1200" b="0" i="0" dirty="0">
                    <a:solidFill>
                      <a:schemeClr val="tx2"/>
                    </a:solidFill>
                    <a:latin typeface="Open Sans" charset="0"/>
                    <a:ea typeface="Open Sans" charset="0"/>
                    <a:cs typeface="Open Sans" charset="0"/>
                  </a:endParaRPr>
                </a:p>
              </p:txBody>
            </p:sp>
            <p:sp>
              <p:nvSpPr>
                <p:cNvPr id="40" name="TextBox 39">
                  <a:extLst>
                    <a:ext uri="{FF2B5EF4-FFF2-40B4-BE49-F238E27FC236}">
                      <a16:creationId xmlns:a16="http://schemas.microsoft.com/office/drawing/2014/main" id="{A8DB2993-D38D-4E47-9981-13D204F3FC41}"/>
                    </a:ext>
                  </a:extLst>
                </p:cNvPr>
                <p:cNvSpPr txBox="1"/>
                <p:nvPr/>
              </p:nvSpPr>
              <p:spPr>
                <a:xfrm>
                  <a:off x="4686541" y="3803467"/>
                  <a:ext cx="1382977" cy="52110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defTabSz="456758" fontAlgn="base">
                    <a:spcBef>
                      <a:spcPts val="1200"/>
                    </a:spcBef>
                  </a:pPr>
                  <a:r>
                    <a:rPr lang="en-US" sz="900" b="1" dirty="0">
                      <a:solidFill>
                        <a:schemeClr val="tx2"/>
                      </a:solidFill>
                      <a:latin typeface="Open Sans" charset="0"/>
                      <a:ea typeface="Open Sans" charset="0"/>
                      <a:cs typeface="Open Sans" charset="0"/>
                    </a:rPr>
                    <a:t>Medical Cost </a:t>
                  </a:r>
                  <a:endParaRPr lang="en-US" sz="900" b="1" i="0" dirty="0">
                    <a:solidFill>
                      <a:schemeClr val="tx2"/>
                    </a:solidFill>
                    <a:latin typeface="Open Sans" charset="0"/>
                    <a:ea typeface="Open Sans" charset="0"/>
                    <a:cs typeface="Open Sans" charset="0"/>
                  </a:endParaRPr>
                </a:p>
              </p:txBody>
            </p:sp>
            <p:sp>
              <p:nvSpPr>
                <p:cNvPr id="41" name="TextBox 40">
                  <a:extLst>
                    <a:ext uri="{FF2B5EF4-FFF2-40B4-BE49-F238E27FC236}">
                      <a16:creationId xmlns:a16="http://schemas.microsoft.com/office/drawing/2014/main" id="{61DC088D-9952-4AAE-BA20-6A953EE2E288}"/>
                    </a:ext>
                  </a:extLst>
                </p:cNvPr>
                <p:cNvSpPr txBox="1"/>
                <p:nvPr/>
              </p:nvSpPr>
              <p:spPr>
                <a:xfrm>
                  <a:off x="430846" y="1991554"/>
                  <a:ext cx="2200551" cy="66600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defTabSz="456758" fontAlgn="base">
                    <a:spcBef>
                      <a:spcPts val="1200"/>
                    </a:spcBef>
                  </a:pPr>
                  <a:r>
                    <a:rPr lang="en-US" sz="900" b="1" dirty="0">
                      <a:solidFill>
                        <a:schemeClr val="tx2"/>
                      </a:solidFill>
                      <a:latin typeface="Open Sans" charset="0"/>
                      <a:ea typeface="Open Sans" charset="0"/>
                      <a:cs typeface="Open Sans" charset="0"/>
                    </a:rPr>
                    <a:t>Primary Care and Specialist Utilization</a:t>
                  </a:r>
                  <a:endParaRPr lang="en-US" sz="900" b="1" i="0" dirty="0">
                    <a:solidFill>
                      <a:schemeClr val="tx2"/>
                    </a:solidFill>
                    <a:latin typeface="Open Sans" charset="0"/>
                    <a:ea typeface="Open Sans" charset="0"/>
                    <a:cs typeface="Open Sans" charset="0"/>
                  </a:endParaRPr>
                </a:p>
              </p:txBody>
            </p:sp>
            <p:sp>
              <p:nvSpPr>
                <p:cNvPr id="42" name="TextBox 41">
                  <a:extLst>
                    <a:ext uri="{FF2B5EF4-FFF2-40B4-BE49-F238E27FC236}">
                      <a16:creationId xmlns:a16="http://schemas.microsoft.com/office/drawing/2014/main" id="{58B966FE-2B30-4A85-8178-53BD6CFF6577}"/>
                    </a:ext>
                  </a:extLst>
                </p:cNvPr>
                <p:cNvSpPr txBox="1"/>
                <p:nvPr/>
              </p:nvSpPr>
              <p:spPr>
                <a:xfrm>
                  <a:off x="1683558" y="5271142"/>
                  <a:ext cx="1771919" cy="52110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defTabSz="456758" fontAlgn="base">
                    <a:spcBef>
                      <a:spcPts val="1200"/>
                    </a:spcBef>
                  </a:pPr>
                  <a:r>
                    <a:rPr lang="en-US" sz="900" b="1" dirty="0">
                      <a:solidFill>
                        <a:schemeClr val="tx2"/>
                      </a:solidFill>
                      <a:latin typeface="Open Sans" charset="0"/>
                      <a:ea typeface="Open Sans" charset="0"/>
                      <a:cs typeface="Open Sans" charset="0"/>
                    </a:rPr>
                    <a:t>Drug Utilization </a:t>
                  </a:r>
                  <a:endParaRPr lang="en-US" sz="900" b="1" i="0" dirty="0">
                    <a:solidFill>
                      <a:schemeClr val="tx2"/>
                    </a:solidFill>
                    <a:latin typeface="Open Sans" charset="0"/>
                    <a:ea typeface="Open Sans" charset="0"/>
                    <a:cs typeface="Open Sans" charset="0"/>
                  </a:endParaRPr>
                </a:p>
              </p:txBody>
            </p:sp>
          </p:grpSp>
        </p:grpSp>
        <p:pic>
          <p:nvPicPr>
            <p:cNvPr id="25" name="Graphic 24" descr="Universal access">
              <a:extLst>
                <a:ext uri="{FF2B5EF4-FFF2-40B4-BE49-F238E27FC236}">
                  <a16:creationId xmlns:a16="http://schemas.microsoft.com/office/drawing/2014/main" id="{D945A66B-4538-46E4-8C25-96D4801E01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3502154" y="4578128"/>
              <a:ext cx="603035" cy="603035"/>
            </a:xfrm>
            <a:prstGeom prst="rect">
              <a:avLst/>
            </a:prstGeom>
          </p:spPr>
        </p:pic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366E6C38-8CD1-4B8E-A3CE-F161F5D05C42}"/>
              </a:ext>
            </a:extLst>
          </p:cNvPr>
          <p:cNvSpPr txBox="1"/>
          <p:nvPr/>
        </p:nvSpPr>
        <p:spPr>
          <a:xfrm>
            <a:off x="10068110" y="4999255"/>
            <a:ext cx="1694423" cy="4785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900" b="1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Demographics - Age , Gender, Tenure, Disability</a:t>
            </a:r>
            <a:endParaRPr lang="en-US" sz="900" b="1" i="0" dirty="0">
              <a:solidFill>
                <a:schemeClr val="tx2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2C3B88BF-4CFA-483D-A3C6-EEE5241A349C}"/>
              </a:ext>
            </a:extLst>
          </p:cNvPr>
          <p:cNvGrpSpPr/>
          <p:nvPr/>
        </p:nvGrpSpPr>
        <p:grpSpPr>
          <a:xfrm>
            <a:off x="6301398" y="1903022"/>
            <a:ext cx="1373879" cy="4333187"/>
            <a:chOff x="220799" y="1447801"/>
            <a:chExt cx="1403523" cy="4482025"/>
          </a:xfrm>
        </p:grpSpPr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E4B2ACF3-5C96-4EF8-A4C6-5936547F4C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1378" y="1447801"/>
              <a:ext cx="840917" cy="840917"/>
            </a:xfrm>
            <a:prstGeom prst="rect">
              <a:avLst/>
            </a:prstGeom>
          </p:spPr>
        </p:pic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2A562866-A1A5-4EFB-A66D-671D5555A74E}"/>
                </a:ext>
              </a:extLst>
            </p:cNvPr>
            <p:cNvSpPr txBox="1"/>
            <p:nvPr/>
          </p:nvSpPr>
          <p:spPr>
            <a:xfrm>
              <a:off x="220799" y="2205152"/>
              <a:ext cx="1403523" cy="37246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28600" indent="-228600">
                <a:buAutoNum type="arabicPeriod"/>
              </a:pPr>
              <a:r>
                <a:rPr lang="en-US" sz="12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Value-Based Enrollment (VBE) Survey</a:t>
              </a:r>
            </a:p>
            <a:p>
              <a:pPr marL="228600" indent="-228600">
                <a:buAutoNum type="arabicPeriod"/>
              </a:pPr>
              <a:r>
                <a:rPr lang="en-US" sz="12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OP Campaign Data</a:t>
              </a:r>
            </a:p>
            <a:p>
              <a:pPr marL="228600" indent="-228600">
                <a:buAutoNum type="arabicPeriod"/>
              </a:pPr>
              <a:r>
                <a:rPr lang="en-US" sz="12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nrollment Data</a:t>
              </a:r>
            </a:p>
            <a:p>
              <a:pPr marL="228600" indent="-228600">
                <a:buAutoNum type="arabicPeriod"/>
              </a:pPr>
              <a:r>
                <a:rPr lang="en-US" sz="12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edical &amp; Pharmacy Claims</a:t>
              </a:r>
            </a:p>
            <a:p>
              <a:pPr marL="228600" indent="-228600">
                <a:buAutoNum type="arabicPeriod"/>
              </a:pPr>
              <a:r>
                <a:rPr lang="en-US" sz="12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HEDIS and Patient Safety Data</a:t>
              </a:r>
            </a:p>
            <a:p>
              <a:pPr marL="228600" indent="-228600">
                <a:buAutoNum type="arabicPeriod"/>
              </a:pPr>
              <a:r>
                <a:rPr lang="en-US" sz="12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ember Interaction Tables(call, and grievance)</a:t>
              </a:r>
            </a:p>
            <a:p>
              <a:pPr marL="228600" indent="-228600">
                <a:buAutoNum type="arabicPeriod"/>
              </a:pPr>
              <a:r>
                <a:rPr lang="en-US" sz="12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ember Demographics</a:t>
              </a:r>
              <a:endPara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6241F963-9AD4-4D67-BC55-83A1FEA064D8}"/>
              </a:ext>
            </a:extLst>
          </p:cNvPr>
          <p:cNvSpPr txBox="1"/>
          <p:nvPr/>
        </p:nvSpPr>
        <p:spPr>
          <a:xfrm>
            <a:off x="5992624" y="1705855"/>
            <a:ext cx="1918644" cy="32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200" u="sng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Open Sans" charset="0"/>
                <a:cs typeface="Calibri" panose="020F0502020204030204" pitchFamily="34" charset="0"/>
              </a:rPr>
              <a:t>Data Sources</a:t>
            </a:r>
          </a:p>
        </p:txBody>
      </p:sp>
      <p:pic>
        <p:nvPicPr>
          <p:cNvPr id="53" name="Graphic 52" descr="Money">
            <a:extLst>
              <a:ext uri="{FF2B5EF4-FFF2-40B4-BE49-F238E27FC236}">
                <a16:creationId xmlns:a16="http://schemas.microsoft.com/office/drawing/2014/main" id="{47A04063-C9F1-415F-9426-597020AD2250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189471" y="3932634"/>
            <a:ext cx="457195" cy="457195"/>
          </a:xfrm>
          <a:prstGeom prst="rect">
            <a:avLst/>
          </a:prstGeom>
        </p:spPr>
      </p:pic>
      <p:sp>
        <p:nvSpPr>
          <p:cNvPr id="54" name="Left Bracket 53">
            <a:extLst>
              <a:ext uri="{FF2B5EF4-FFF2-40B4-BE49-F238E27FC236}">
                <a16:creationId xmlns:a16="http://schemas.microsoft.com/office/drawing/2014/main" id="{E59A646C-8791-4C50-A745-EF78BF75EEE4}"/>
              </a:ext>
            </a:extLst>
          </p:cNvPr>
          <p:cNvSpPr/>
          <p:nvPr/>
        </p:nvSpPr>
        <p:spPr>
          <a:xfrm>
            <a:off x="7833410" y="2057400"/>
            <a:ext cx="921604" cy="3704293"/>
          </a:xfrm>
          <a:prstGeom prst="leftBracket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CDB664A-D05E-4675-B8C9-80947003E8FE}"/>
              </a:ext>
            </a:extLst>
          </p:cNvPr>
          <p:cNvSpPr txBox="1"/>
          <p:nvPr/>
        </p:nvSpPr>
        <p:spPr>
          <a:xfrm>
            <a:off x="10585041" y="3425130"/>
            <a:ext cx="908850" cy="3170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900" b="1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Comorbidity</a:t>
            </a:r>
            <a:endParaRPr lang="en-US" sz="900" b="1" i="0" dirty="0">
              <a:solidFill>
                <a:schemeClr val="tx2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pic>
        <p:nvPicPr>
          <p:cNvPr id="56" name="Graphic 55" descr="Inpatient">
            <a:extLst>
              <a:ext uri="{FF2B5EF4-FFF2-40B4-BE49-F238E27FC236}">
                <a16:creationId xmlns:a16="http://schemas.microsoft.com/office/drawing/2014/main" id="{B07F24AE-DA56-49D5-88AE-023B241BC4A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0066110" y="3233265"/>
            <a:ext cx="499800" cy="499800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93864418-9F9C-46C9-AFA7-F784F6A5B4CA}"/>
              </a:ext>
            </a:extLst>
          </p:cNvPr>
          <p:cNvSpPr txBox="1"/>
          <p:nvPr/>
        </p:nvSpPr>
        <p:spPr>
          <a:xfrm>
            <a:off x="9220447" y="2132151"/>
            <a:ext cx="2210689" cy="2886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b="1" i="1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Measured at member level </a:t>
            </a:r>
            <a:endParaRPr lang="en-US" sz="1200" b="0" i="1" dirty="0">
              <a:solidFill>
                <a:schemeClr val="tx2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79014288-FE67-40C8-9887-E2B5600E5E61}"/>
              </a:ext>
            </a:extLst>
          </p:cNvPr>
          <p:cNvGrpSpPr/>
          <p:nvPr/>
        </p:nvGrpSpPr>
        <p:grpSpPr>
          <a:xfrm>
            <a:off x="403493" y="344407"/>
            <a:ext cx="509184" cy="707758"/>
            <a:chOff x="-1706746" y="1081861"/>
            <a:chExt cx="509317" cy="707942"/>
          </a:xfrm>
        </p:grpSpPr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4CF8D55C-A4EF-4245-AE38-7E012C5B051A}"/>
                </a:ext>
              </a:extLst>
            </p:cNvPr>
            <p:cNvSpPr/>
            <p:nvPr/>
          </p:nvSpPr>
          <p:spPr>
            <a:xfrm>
              <a:off x="-1706746" y="1081861"/>
              <a:ext cx="481348" cy="7079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999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Domaine Display Bold" panose="020A0803080505060203" pitchFamily="18" charset="0"/>
                  <a:ea typeface="Open Sans" panose="020B0606030504020204" pitchFamily="34" charset="0"/>
                  <a:cs typeface="Open Sans" panose="020B0606030504020204" pitchFamily="34" charset="0"/>
                </a:rPr>
                <a:t>2</a:t>
              </a: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28FD5878-4D42-4740-956E-42C492B6F6AD}"/>
                </a:ext>
              </a:extLst>
            </p:cNvPr>
            <p:cNvCxnSpPr/>
            <p:nvPr/>
          </p:nvCxnSpPr>
          <p:spPr>
            <a:xfrm>
              <a:off x="-1197429" y="1217529"/>
              <a:ext cx="0" cy="4262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5" name="AutoShape 5">
            <a:extLst>
              <a:ext uri="{FF2B5EF4-FFF2-40B4-BE49-F238E27FC236}">
                <a16:creationId xmlns:a16="http://schemas.microsoft.com/office/drawing/2014/main" id="{4E7C7633-185B-497B-B21E-EFA0FE4ADC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375985" y="1209079"/>
            <a:ext cx="5498203" cy="381000"/>
          </a:xfrm>
          <a:prstGeom prst="homePlate">
            <a:avLst>
              <a:gd name="adj" fmla="val 21760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indent="-180000" algn="ctr">
              <a:lnSpc>
                <a:spcPct val="95000"/>
              </a:lnSpc>
              <a:spcAft>
                <a:spcPts val="800"/>
              </a:spcAft>
            </a:pPr>
            <a:r>
              <a:rPr lang="de-DE" altLang="de-DE" sz="1400" b="1" noProof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Sampling</a:t>
            </a:r>
          </a:p>
        </p:txBody>
      </p:sp>
      <p:sp>
        <p:nvSpPr>
          <p:cNvPr id="76" name="AutoShape 5">
            <a:extLst>
              <a:ext uri="{FF2B5EF4-FFF2-40B4-BE49-F238E27FC236}">
                <a16:creationId xmlns:a16="http://schemas.microsoft.com/office/drawing/2014/main" id="{857B3188-E24B-4BEA-B751-475FAB8A367F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9840" y="3971883"/>
            <a:ext cx="5399201" cy="381000"/>
          </a:xfrm>
          <a:prstGeom prst="homePlate">
            <a:avLst>
              <a:gd name="adj" fmla="val 21760"/>
            </a:avLst>
          </a:prstGeom>
          <a:solidFill>
            <a:schemeClr val="accent6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indent="-180000" algn="ctr">
              <a:lnSpc>
                <a:spcPct val="95000"/>
              </a:lnSpc>
              <a:spcAft>
                <a:spcPts val="800"/>
              </a:spcAft>
            </a:pPr>
            <a:r>
              <a:rPr lang="de-DE" altLang="de-DE" sz="1400" b="1" noProof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mitation</a:t>
            </a:r>
          </a:p>
        </p:txBody>
      </p:sp>
      <p:sp>
        <p:nvSpPr>
          <p:cNvPr id="77" name="AutoShape 5">
            <a:extLst>
              <a:ext uri="{FF2B5EF4-FFF2-40B4-BE49-F238E27FC236}">
                <a16:creationId xmlns:a16="http://schemas.microsoft.com/office/drawing/2014/main" id="{7DF00695-8B6D-484F-B575-22242E65F962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39559" y="1205856"/>
            <a:ext cx="5718426" cy="381000"/>
          </a:xfrm>
          <a:prstGeom prst="homePlate">
            <a:avLst>
              <a:gd name="adj" fmla="val 21760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indent="-180000" algn="ctr">
              <a:lnSpc>
                <a:spcPct val="95000"/>
              </a:lnSpc>
              <a:spcAft>
                <a:spcPts val="800"/>
              </a:spcAft>
            </a:pPr>
            <a:r>
              <a:rPr lang="en-US" altLang="de-DE" sz="1400" b="1" noProof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tributes Selected for the Model</a:t>
            </a:r>
          </a:p>
        </p:txBody>
      </p:sp>
      <p:grpSp>
        <p:nvGrpSpPr>
          <p:cNvPr id="97" name="Gruppieren 4">
            <a:extLst>
              <a:ext uri="{FF2B5EF4-FFF2-40B4-BE49-F238E27FC236}">
                <a16:creationId xmlns:a16="http://schemas.microsoft.com/office/drawing/2014/main" id="{C9FFB5C6-774E-4526-8271-EFD437ECC55C}"/>
              </a:ext>
            </a:extLst>
          </p:cNvPr>
          <p:cNvGrpSpPr/>
          <p:nvPr/>
        </p:nvGrpSpPr>
        <p:grpSpPr>
          <a:xfrm>
            <a:off x="3935384" y="1679427"/>
            <a:ext cx="1991437" cy="2308956"/>
            <a:chOff x="5601305" y="1804877"/>
            <a:chExt cx="3286441" cy="3050220"/>
          </a:xfrm>
        </p:grpSpPr>
        <p:grpSp>
          <p:nvGrpSpPr>
            <p:cNvPr id="98" name="Gruppieren 29">
              <a:extLst>
                <a:ext uri="{FF2B5EF4-FFF2-40B4-BE49-F238E27FC236}">
                  <a16:creationId xmlns:a16="http://schemas.microsoft.com/office/drawing/2014/main" id="{96508638-F736-4ED4-AF6E-CEF0B1633567}"/>
                </a:ext>
              </a:extLst>
            </p:cNvPr>
            <p:cNvGrpSpPr/>
            <p:nvPr/>
          </p:nvGrpSpPr>
          <p:grpSpPr>
            <a:xfrm>
              <a:off x="5737760" y="1804877"/>
              <a:ext cx="3149986" cy="2058064"/>
              <a:chOff x="5737760" y="1804877"/>
              <a:chExt cx="3149986" cy="2058064"/>
            </a:xfrm>
          </p:grpSpPr>
          <p:sp>
            <p:nvSpPr>
              <p:cNvPr id="102" name="Line 12">
                <a:extLst>
                  <a:ext uri="{FF2B5EF4-FFF2-40B4-BE49-F238E27FC236}">
                    <a16:creationId xmlns:a16="http://schemas.microsoft.com/office/drawing/2014/main" id="{E8F4AD6C-27A7-439C-848E-085152C71378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6217528" y="2548397"/>
                <a:ext cx="2630638" cy="0"/>
              </a:xfrm>
              <a:prstGeom prst="line">
                <a:avLst/>
              </a:prstGeom>
              <a:noFill/>
              <a:ln w="19050" cap="sq">
                <a:solidFill>
                  <a:srgbClr val="868282"/>
                </a:solidFill>
                <a:prstDash val="sysDot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kern="0" noProof="1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3" name="Line 38">
                <a:extLst>
                  <a:ext uri="{FF2B5EF4-FFF2-40B4-BE49-F238E27FC236}">
                    <a16:creationId xmlns:a16="http://schemas.microsoft.com/office/drawing/2014/main" id="{7A0FA476-6F8D-4740-8EED-45BE5DA40140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5737760" y="3853099"/>
                <a:ext cx="3149986" cy="9842"/>
              </a:xfrm>
              <a:prstGeom prst="line">
                <a:avLst/>
              </a:prstGeom>
              <a:noFill/>
              <a:ln w="19050" cap="sq">
                <a:solidFill>
                  <a:sysClr val="windowText" lastClr="000000">
                    <a:lumMod val="50000"/>
                    <a:lumOff val="50000"/>
                  </a:sysClr>
                </a:solidFill>
                <a:prstDash val="sysDot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kern="0" noProof="1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5" name="Line 11">
                <a:extLst>
                  <a:ext uri="{FF2B5EF4-FFF2-40B4-BE49-F238E27FC236}">
                    <a16:creationId xmlns:a16="http://schemas.microsoft.com/office/drawing/2014/main" id="{15169E50-BCB7-4F1C-BD00-590E8ECC0EC9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7094220" y="1804877"/>
                <a:ext cx="1723857" cy="0"/>
              </a:xfrm>
              <a:prstGeom prst="line">
                <a:avLst/>
              </a:prstGeom>
              <a:noFill/>
              <a:ln w="19050" cap="sq">
                <a:solidFill>
                  <a:srgbClr val="868282"/>
                </a:solidFill>
                <a:prstDash val="sysDot"/>
                <a:round/>
                <a:headEnd/>
                <a:tailEnd/>
              </a:ln>
            </p:spPr>
            <p:txBody>
              <a:bodyPr/>
              <a:lstStyle/>
              <a:p>
                <a:pPr defTabSz="914400">
                  <a:defRPr/>
                </a:pPr>
                <a:endParaRPr lang="en-US" kern="0" noProof="1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99" name="Text Box 9">
              <a:extLst>
                <a:ext uri="{FF2B5EF4-FFF2-40B4-BE49-F238E27FC236}">
                  <a16:creationId xmlns:a16="http://schemas.microsoft.com/office/drawing/2014/main" id="{BF549B8D-D985-4E1F-AB40-DB0B35379F85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072216" y="2063238"/>
              <a:ext cx="2743096" cy="265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marL="180000" indent="-177800" algn="r" defTabSz="801688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1200" b="1" kern="0" noProof="1">
                  <a:solidFill>
                    <a:srgbClr val="C00000"/>
                  </a:solidFill>
                </a:rPr>
                <a:t>All</a:t>
              </a:r>
              <a:r>
                <a:rPr lang="en-US" sz="1200" kern="0" noProof="1">
                  <a:solidFill>
                    <a:sysClr val="windowText" lastClr="000000"/>
                  </a:solidFill>
                </a:rPr>
                <a:t> 2020 MAPD IVL </a:t>
              </a:r>
              <a:r>
                <a:rPr lang="en-US" sz="1200" b="1" kern="0" noProof="1">
                  <a:solidFill>
                    <a:srgbClr val="C00000"/>
                  </a:solidFill>
                </a:rPr>
                <a:t>Members</a:t>
              </a:r>
            </a:p>
          </p:txBody>
        </p:sp>
        <p:sp>
          <p:nvSpPr>
            <p:cNvPr id="100" name="Text Box 10">
              <a:extLst>
                <a:ext uri="{FF2B5EF4-FFF2-40B4-BE49-F238E27FC236}">
                  <a16:creationId xmlns:a16="http://schemas.microsoft.com/office/drawing/2014/main" id="{5CFD8019-990D-4783-9EF2-65571FAB30CF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601305" y="2635879"/>
              <a:ext cx="3189795" cy="11587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marL="180000" indent="-177800" algn="r" defTabSz="801688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1200" kern="0" noProof="1">
                  <a:solidFill>
                    <a:sysClr val="windowText" lastClr="000000"/>
                  </a:solidFill>
                </a:rPr>
                <a:t>Selected 9,300 </a:t>
              </a:r>
              <a:r>
                <a:rPr lang="en-US" sz="1200" b="1" kern="0" noProof="1">
                  <a:solidFill>
                    <a:srgbClr val="C00000"/>
                  </a:solidFill>
                </a:rPr>
                <a:t>Identified Veterans</a:t>
              </a:r>
              <a:r>
                <a:rPr lang="en-US" sz="1200" kern="0" noProof="1">
                  <a:solidFill>
                    <a:sysClr val="windowText" lastClr="000000"/>
                  </a:solidFill>
                </a:rPr>
                <a:t> </a:t>
              </a:r>
              <a:r>
                <a:rPr lang="en-US" sz="1200" b="1" kern="0" noProof="1">
                  <a:solidFill>
                    <a:srgbClr val="C00000"/>
                  </a:solidFill>
                </a:rPr>
                <a:t>plus</a:t>
              </a:r>
              <a:r>
                <a:rPr lang="en-US" sz="1200" kern="0" noProof="1">
                  <a:solidFill>
                    <a:sysClr val="windowText" lastClr="000000"/>
                  </a:solidFill>
                </a:rPr>
                <a:t> 30,000 randomly selected </a:t>
              </a:r>
              <a:r>
                <a:rPr lang="en-US" sz="1200" b="1" kern="0" noProof="1">
                  <a:solidFill>
                    <a:srgbClr val="C00000"/>
                  </a:solidFill>
                </a:rPr>
                <a:t>Nonveterans</a:t>
              </a:r>
              <a:r>
                <a:rPr lang="en-US" sz="1200" kern="0" noProof="1">
                  <a:solidFill>
                    <a:sysClr val="windowText" lastClr="000000"/>
                  </a:solidFill>
                </a:rPr>
                <a:t> from the Top 5 Veterans Contracts </a:t>
              </a:r>
            </a:p>
          </p:txBody>
        </p:sp>
        <p:sp>
          <p:nvSpPr>
            <p:cNvPr id="101" name="Text Box 40">
              <a:extLst>
                <a:ext uri="{FF2B5EF4-FFF2-40B4-BE49-F238E27FC236}">
                  <a16:creationId xmlns:a16="http://schemas.microsoft.com/office/drawing/2014/main" id="{DF84BAC4-0352-48BF-8712-3FDB65A0BD1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664156" y="3928083"/>
              <a:ext cx="3138940" cy="9270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marL="180000" indent="-177800" algn="r" defTabSz="801688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1200" kern="0" noProof="1">
                  <a:solidFill>
                    <a:sysClr val="windowText" lastClr="000000"/>
                  </a:solidFill>
                </a:rPr>
                <a:t>In the final modeling dataset, Approximately, 55% fo the members are from VBE suvey</a:t>
              </a:r>
            </a:p>
          </p:txBody>
        </p:sp>
      </p:grp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03548D1B-5A88-4ECF-B18C-4D16AF503BCA}"/>
              </a:ext>
            </a:extLst>
          </p:cNvPr>
          <p:cNvCxnSpPr>
            <a:cxnSpLocks/>
          </p:cNvCxnSpPr>
          <p:nvPr/>
        </p:nvCxnSpPr>
        <p:spPr>
          <a:xfrm>
            <a:off x="6094412" y="1651260"/>
            <a:ext cx="0" cy="0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C0F59A67-5545-445A-BE4D-A4F6FB0BD1B8}"/>
              </a:ext>
            </a:extLst>
          </p:cNvPr>
          <p:cNvCxnSpPr>
            <a:cxnSpLocks/>
          </p:cNvCxnSpPr>
          <p:nvPr/>
        </p:nvCxnSpPr>
        <p:spPr>
          <a:xfrm>
            <a:off x="5992624" y="1586856"/>
            <a:ext cx="0" cy="4864189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TextBox 134">
            <a:extLst>
              <a:ext uri="{FF2B5EF4-FFF2-40B4-BE49-F238E27FC236}">
                <a16:creationId xmlns:a16="http://schemas.microsoft.com/office/drawing/2014/main" id="{13FC3C9D-D698-401E-BB49-FBD04DC5ED47}"/>
              </a:ext>
            </a:extLst>
          </p:cNvPr>
          <p:cNvSpPr txBox="1"/>
          <p:nvPr/>
        </p:nvSpPr>
        <p:spPr>
          <a:xfrm>
            <a:off x="454263" y="4403261"/>
            <a:ext cx="5334844" cy="20005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3F3F3F"/>
                </a:solidFill>
                <a:latin typeface="Arial"/>
              </a:rPr>
              <a:t>81% of the 9,300 identified veterans are newly enrolled members with tenure less than 8 months (as of 2020 August), and this is unavoidable due to the source. In comparison, the general Individual MAPD population only has 36% newly enrolled members. This unbalanced proportion in tenure will decrease accuracy in predicting veteran members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US" sz="1000" dirty="0">
              <a:solidFill>
                <a:srgbClr val="3F3F3F"/>
              </a:solidFill>
              <a:latin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3F3F3F"/>
                </a:solidFill>
              </a:rPr>
              <a:t>55% of the nonveterans sampled for the model can be confirmed as nonveterans from VBE survey. However the rest of nonveterans </a:t>
            </a:r>
            <a:r>
              <a:rPr lang="en-US" sz="1000" dirty="0">
                <a:solidFill>
                  <a:srgbClr val="3F3F3F"/>
                </a:solidFill>
                <a:latin typeface="Arial"/>
              </a:rPr>
              <a:t>sampled from the top 5 veteran contracts can not be confirmed due to lack of information. We assume these members as nonveteran for the model which might lead to unreliability for the prediction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US" sz="1000" dirty="0">
              <a:solidFill>
                <a:srgbClr val="3F3F3F"/>
              </a:solidFill>
              <a:latin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3F3F3F"/>
                </a:solidFill>
                <a:latin typeface="Arial"/>
              </a:rPr>
              <a:t>The current model has an accuracy of 94% for the testing group as of 06/2020, however, this prediction rate could drop as we score the future membership due to the above 2 limitations identified.</a:t>
            </a:r>
          </a:p>
        </p:txBody>
      </p:sp>
      <p:pic>
        <p:nvPicPr>
          <p:cNvPr id="3" name="Graphic 2" descr="Statistics">
            <a:extLst>
              <a:ext uri="{FF2B5EF4-FFF2-40B4-BE49-F238E27FC236}">
                <a16:creationId xmlns:a16="http://schemas.microsoft.com/office/drawing/2014/main" id="{5D69CEA8-5DDF-48BF-9F3E-EF5BCD70F99A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8184654" y="3982069"/>
            <a:ext cx="400026" cy="400026"/>
          </a:xfrm>
          <a:prstGeom prst="rect">
            <a:avLst/>
          </a:prstGeom>
        </p:spPr>
      </p:pic>
      <p:sp>
        <p:nvSpPr>
          <p:cNvPr id="64" name="Rectangle 80" descr="© INSCALE GmbH, 26.05.2010&#10;http://www.presentationload.com/">
            <a:extLst>
              <a:ext uri="{FF2B5EF4-FFF2-40B4-BE49-F238E27FC236}">
                <a16:creationId xmlns:a16="http://schemas.microsoft.com/office/drawing/2014/main" id="{B74A5C90-FB7A-4FDF-9670-BABEA77525D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31057" y="1620961"/>
            <a:ext cx="1485297" cy="216476"/>
          </a:xfrm>
          <a:prstGeom prst="rect">
            <a:avLst/>
          </a:prstGeom>
          <a:solidFill>
            <a:srgbClr val="7030A0"/>
          </a:soli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metal">
            <a:bevelT w="38100" h="38100"/>
          </a:sp3d>
        </p:spPr>
        <p:txBody>
          <a:bodyPr lIns="0" tIns="0" rIns="0" bIns="0" anchor="ctr"/>
          <a:lstStyle/>
          <a:p>
            <a:pPr algn="ctr" defTabSz="801688" eaLnBrk="0" hangingPunct="0">
              <a:defRPr/>
            </a:pPr>
            <a:r>
              <a:rPr lang="en-US" sz="900" b="1" kern="0" noProof="1">
                <a:solidFill>
                  <a:schemeClr val="bg1"/>
                </a:solidFill>
              </a:rPr>
              <a:t>MAPD Individual Members</a:t>
            </a:r>
          </a:p>
        </p:txBody>
      </p:sp>
      <p:sp>
        <p:nvSpPr>
          <p:cNvPr id="65" name="Rectangle 8" descr="© INSCALE GmbH, 26.05.2010&#10;http://www.presentationload.com/">
            <a:extLst>
              <a:ext uri="{FF2B5EF4-FFF2-40B4-BE49-F238E27FC236}">
                <a16:creationId xmlns:a16="http://schemas.microsoft.com/office/drawing/2014/main" id="{98516109-E6AB-484D-9F39-61DCC20BC46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31054" y="1837437"/>
            <a:ext cx="1485289" cy="294711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44000" bIns="72000"/>
          <a:lstStyle/>
          <a:p>
            <a:pPr algn="ctr" defTabSz="91440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en-US" sz="1200" kern="0" noProof="1">
                <a:solidFill>
                  <a:srgbClr val="C00000"/>
                </a:solidFill>
                <a:cs typeface="Arial" charset="0"/>
              </a:rPr>
              <a:t>1.6 millions</a:t>
            </a:r>
          </a:p>
        </p:txBody>
      </p:sp>
      <p:sp>
        <p:nvSpPr>
          <p:cNvPr id="66" name="Rectangle 80" descr="© INSCALE GmbH, 26.05.2010&#10;http://www.presentationload.com/">
            <a:extLst>
              <a:ext uri="{FF2B5EF4-FFF2-40B4-BE49-F238E27FC236}">
                <a16:creationId xmlns:a16="http://schemas.microsoft.com/office/drawing/2014/main" id="{44E3C71D-CE2F-4F42-8C00-FB9047811AE6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7951" y="2357545"/>
            <a:ext cx="1485297" cy="216476"/>
          </a:xfrm>
          <a:prstGeom prst="rect">
            <a:avLst/>
          </a:prstGeom>
          <a:solidFill>
            <a:srgbClr val="0070C0"/>
          </a:soli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metal">
            <a:bevelT w="38100" h="38100"/>
          </a:sp3d>
        </p:spPr>
        <p:txBody>
          <a:bodyPr lIns="0" tIns="0" rIns="0" bIns="0" anchor="ctr"/>
          <a:lstStyle/>
          <a:p>
            <a:pPr algn="ctr" defTabSz="801688" eaLnBrk="0" hangingPunct="0">
              <a:defRPr/>
            </a:pPr>
            <a:r>
              <a:rPr lang="en-US" sz="900" b="1" kern="0" noProof="1">
                <a:solidFill>
                  <a:schemeClr val="bg1"/>
                </a:solidFill>
              </a:rPr>
              <a:t>Identified Veterans</a:t>
            </a:r>
          </a:p>
        </p:txBody>
      </p:sp>
      <p:sp>
        <p:nvSpPr>
          <p:cNvPr id="67" name="Rectangle 8" descr="© INSCALE GmbH, 26.05.2010&#10;http://www.presentationload.com/">
            <a:extLst>
              <a:ext uri="{FF2B5EF4-FFF2-40B4-BE49-F238E27FC236}">
                <a16:creationId xmlns:a16="http://schemas.microsoft.com/office/drawing/2014/main" id="{D0FE6CD9-7F7A-4F8A-ADF3-31D1981753A8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7948" y="2574021"/>
            <a:ext cx="1485289" cy="294711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44000" bIns="72000"/>
          <a:lstStyle/>
          <a:p>
            <a:pPr algn="ctr" defTabSz="91440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en-US" sz="1200" kern="0" noProof="1">
                <a:solidFill>
                  <a:srgbClr val="C00000"/>
                </a:solidFill>
                <a:cs typeface="Arial" charset="0"/>
              </a:rPr>
              <a:t>9,300</a:t>
            </a:r>
          </a:p>
        </p:txBody>
      </p:sp>
      <p:sp>
        <p:nvSpPr>
          <p:cNvPr id="68" name="Rectangle 80" descr="© INSCALE GmbH, 26.05.2010&#10;http://www.presentationload.com/">
            <a:extLst>
              <a:ext uri="{FF2B5EF4-FFF2-40B4-BE49-F238E27FC236}">
                <a16:creationId xmlns:a16="http://schemas.microsoft.com/office/drawing/2014/main" id="{BE552E74-232F-41A3-8EB9-D5FF4B62B005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60405" y="2351243"/>
            <a:ext cx="1485297" cy="216476"/>
          </a:xfrm>
          <a:prstGeom prst="rect">
            <a:avLst/>
          </a:prstGeom>
          <a:solidFill>
            <a:srgbClr val="0070C0"/>
          </a:soli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metal">
            <a:bevelT w="38100" h="38100"/>
          </a:sp3d>
        </p:spPr>
        <p:txBody>
          <a:bodyPr lIns="0" tIns="0" rIns="0" bIns="0" anchor="ctr"/>
          <a:lstStyle/>
          <a:p>
            <a:pPr algn="ctr" defTabSz="801688" eaLnBrk="0" hangingPunct="0">
              <a:defRPr/>
            </a:pPr>
            <a:r>
              <a:rPr lang="en-US" sz="900" b="1" kern="0" noProof="1">
                <a:solidFill>
                  <a:schemeClr val="bg1"/>
                </a:solidFill>
              </a:rPr>
              <a:t>Nonveterans</a:t>
            </a:r>
          </a:p>
        </p:txBody>
      </p:sp>
      <p:sp>
        <p:nvSpPr>
          <p:cNvPr id="69" name="Rectangle 8" descr="© INSCALE GmbH, 26.05.2010&#10;http://www.presentationload.com/">
            <a:extLst>
              <a:ext uri="{FF2B5EF4-FFF2-40B4-BE49-F238E27FC236}">
                <a16:creationId xmlns:a16="http://schemas.microsoft.com/office/drawing/2014/main" id="{2F445160-8F3E-48CB-AB0F-BB547CA53197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60402" y="2567719"/>
            <a:ext cx="1485289" cy="294711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44000" bIns="72000"/>
          <a:lstStyle/>
          <a:p>
            <a:pPr algn="ctr" defTabSz="91440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en-US" sz="1200" kern="0" noProof="1">
                <a:solidFill>
                  <a:srgbClr val="C00000"/>
                </a:solidFill>
                <a:cs typeface="Arial" charset="0"/>
              </a:rPr>
              <a:t>30,000</a:t>
            </a:r>
          </a:p>
        </p:txBody>
      </p:sp>
      <p:sp>
        <p:nvSpPr>
          <p:cNvPr id="70" name="Rectangle 80" descr="© INSCALE GmbH, 26.05.2010&#10;http://www.presentationload.com/">
            <a:extLst>
              <a:ext uri="{FF2B5EF4-FFF2-40B4-BE49-F238E27FC236}">
                <a16:creationId xmlns:a16="http://schemas.microsoft.com/office/drawing/2014/main" id="{40B5F675-F798-4949-9F98-D48381187BE7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137" y="3233597"/>
            <a:ext cx="759303" cy="323385"/>
          </a:xfrm>
          <a:prstGeom prst="rect">
            <a:avLst/>
          </a:prstGeom>
          <a:solidFill>
            <a:srgbClr val="00B050"/>
          </a:soli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metal">
            <a:bevelT w="38100" h="38100"/>
          </a:sp3d>
        </p:spPr>
        <p:txBody>
          <a:bodyPr lIns="0" tIns="0" rIns="0" bIns="0" anchor="ctr"/>
          <a:lstStyle/>
          <a:p>
            <a:pPr algn="ctr" defTabSz="801688" eaLnBrk="0" hangingPunct="0">
              <a:defRPr/>
            </a:pPr>
            <a:r>
              <a:rPr lang="en-US" sz="900" b="1" kern="0" noProof="1">
                <a:solidFill>
                  <a:schemeClr val="bg1"/>
                </a:solidFill>
              </a:rPr>
              <a:t>From </a:t>
            </a:r>
          </a:p>
          <a:p>
            <a:pPr algn="ctr" defTabSz="801688" eaLnBrk="0" hangingPunct="0">
              <a:defRPr/>
            </a:pPr>
            <a:r>
              <a:rPr lang="en-US" sz="900" b="1" kern="0" noProof="1">
                <a:solidFill>
                  <a:schemeClr val="bg1"/>
                </a:solidFill>
              </a:rPr>
              <a:t>VBE</a:t>
            </a:r>
          </a:p>
        </p:txBody>
      </p:sp>
      <p:sp>
        <p:nvSpPr>
          <p:cNvPr id="71" name="Rectangle 8" descr="© INSCALE GmbH, 26.05.2010&#10;http://www.presentationload.com/">
            <a:extLst>
              <a:ext uri="{FF2B5EF4-FFF2-40B4-BE49-F238E27FC236}">
                <a16:creationId xmlns:a16="http://schemas.microsoft.com/office/drawing/2014/main" id="{D859ECC3-4C78-4B8A-9C64-52A6E3C0F4C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4612" y="3556491"/>
            <a:ext cx="759303" cy="323385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44000" bIns="72000"/>
          <a:lstStyle/>
          <a:p>
            <a:pPr algn="ctr" defTabSz="91440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en-US" sz="1200" b="1" kern="0" noProof="1">
                <a:solidFill>
                  <a:srgbClr val="00B050"/>
                </a:solidFill>
                <a:cs typeface="Arial" charset="0"/>
              </a:rPr>
              <a:t>5,000</a:t>
            </a:r>
          </a:p>
        </p:txBody>
      </p:sp>
      <p:sp>
        <p:nvSpPr>
          <p:cNvPr id="106" name="Rectangle 80" descr="© INSCALE GmbH, 26.05.2010&#10;http://www.presentationload.com/">
            <a:extLst>
              <a:ext uri="{FF2B5EF4-FFF2-40B4-BE49-F238E27FC236}">
                <a16:creationId xmlns:a16="http://schemas.microsoft.com/office/drawing/2014/main" id="{594C35A0-F48A-4827-9857-C10ED722531B}"/>
              </a:ext>
            </a:extLst>
          </p:cNvPr>
          <p:cNvSpPr>
            <a:spLocks noChangeArrowheads="1"/>
          </p:cNvSpPr>
          <p:nvPr/>
        </p:nvSpPr>
        <p:spPr bwMode="gray">
          <a:xfrm>
            <a:off x="900003" y="3232698"/>
            <a:ext cx="719294" cy="323385"/>
          </a:xfrm>
          <a:prstGeom prst="rect">
            <a:avLst/>
          </a:prstGeom>
          <a:solidFill>
            <a:srgbClr val="00B050"/>
          </a:soli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metal">
            <a:bevelT w="38100" h="38100"/>
          </a:sp3d>
        </p:spPr>
        <p:txBody>
          <a:bodyPr lIns="0" tIns="0" rIns="0" bIns="0" anchor="ctr"/>
          <a:lstStyle/>
          <a:p>
            <a:pPr algn="ctr" defTabSz="801688" eaLnBrk="0" hangingPunct="0"/>
            <a:r>
              <a:rPr lang="en-US" sz="900" b="1" kern="0" noProof="1">
                <a:solidFill>
                  <a:schemeClr val="bg1"/>
                </a:solidFill>
              </a:rPr>
              <a:t>From SOP/</a:t>
            </a:r>
          </a:p>
          <a:p>
            <a:pPr algn="ctr" defTabSz="801688" eaLnBrk="0" hangingPunct="0"/>
            <a:r>
              <a:rPr lang="en-US" sz="900" b="1" kern="0" noProof="1">
                <a:solidFill>
                  <a:schemeClr val="bg1"/>
                </a:solidFill>
              </a:rPr>
              <a:t>Enrollement</a:t>
            </a:r>
          </a:p>
        </p:txBody>
      </p:sp>
      <p:sp>
        <p:nvSpPr>
          <p:cNvPr id="107" name="Rectangle 8" descr="© INSCALE GmbH, 26.05.2010&#10;http://www.presentationload.com/">
            <a:extLst>
              <a:ext uri="{FF2B5EF4-FFF2-40B4-BE49-F238E27FC236}">
                <a16:creationId xmlns:a16="http://schemas.microsoft.com/office/drawing/2014/main" id="{02708A24-2082-412B-AA62-8FA1B03AABD9}"/>
              </a:ext>
            </a:extLst>
          </p:cNvPr>
          <p:cNvSpPr>
            <a:spLocks noChangeArrowheads="1"/>
          </p:cNvSpPr>
          <p:nvPr/>
        </p:nvSpPr>
        <p:spPr bwMode="gray">
          <a:xfrm>
            <a:off x="891324" y="3564618"/>
            <a:ext cx="724676" cy="324537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44000" bIns="72000"/>
          <a:lstStyle/>
          <a:p>
            <a:pPr algn="ctr" defTabSz="91440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en-US" sz="1200" b="1" kern="0" noProof="1">
                <a:solidFill>
                  <a:srgbClr val="00B050"/>
                </a:solidFill>
                <a:cs typeface="Arial" charset="0"/>
              </a:rPr>
              <a:t>4,300</a:t>
            </a:r>
          </a:p>
        </p:txBody>
      </p:sp>
      <p:sp>
        <p:nvSpPr>
          <p:cNvPr id="108" name="Rectangle 80" descr="© INSCALE GmbH, 26.05.2010&#10;http://www.presentationload.com/">
            <a:extLst>
              <a:ext uri="{FF2B5EF4-FFF2-40B4-BE49-F238E27FC236}">
                <a16:creationId xmlns:a16="http://schemas.microsoft.com/office/drawing/2014/main" id="{6873AD1F-0ED8-466B-85E1-54625BC79E5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70910" y="3239375"/>
            <a:ext cx="1095084" cy="342392"/>
          </a:xfrm>
          <a:prstGeom prst="rect">
            <a:avLst/>
          </a:prstGeom>
          <a:solidFill>
            <a:srgbClr val="00B050"/>
          </a:soli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metal">
            <a:bevelT w="38100" h="38100"/>
          </a:sp3d>
        </p:spPr>
        <p:txBody>
          <a:bodyPr lIns="0" tIns="0" rIns="0" bIns="0" anchor="ctr"/>
          <a:lstStyle/>
          <a:p>
            <a:pPr algn="ctr" defTabSz="801688" eaLnBrk="0" hangingPunct="0"/>
            <a:r>
              <a:rPr lang="en-US" sz="900" b="1" kern="0" noProof="1">
                <a:solidFill>
                  <a:schemeClr val="bg1"/>
                </a:solidFill>
              </a:rPr>
              <a:t>Randomly Selected from VBE</a:t>
            </a:r>
          </a:p>
        </p:txBody>
      </p:sp>
      <p:sp>
        <p:nvSpPr>
          <p:cNvPr id="109" name="Rectangle 8" descr="© INSCALE GmbH, 26.05.2010&#10;http://www.presentationload.com/">
            <a:extLst>
              <a:ext uri="{FF2B5EF4-FFF2-40B4-BE49-F238E27FC236}">
                <a16:creationId xmlns:a16="http://schemas.microsoft.com/office/drawing/2014/main" id="{0D114C35-70B2-44B5-92C4-C69710C763E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74206" y="3566367"/>
            <a:ext cx="1088491" cy="325474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44000" bIns="72000"/>
          <a:lstStyle/>
          <a:p>
            <a:pPr algn="ctr" defTabSz="91440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en-US" sz="1200" b="1" kern="0" noProof="1">
                <a:solidFill>
                  <a:srgbClr val="00B050"/>
                </a:solidFill>
                <a:cs typeface="Arial" charset="0"/>
              </a:rPr>
              <a:t>16,500</a:t>
            </a:r>
          </a:p>
        </p:txBody>
      </p:sp>
      <p:sp>
        <p:nvSpPr>
          <p:cNvPr id="110" name="Rectangle 80" descr="© INSCALE GmbH, 26.05.2010&#10;http://www.presentationload.com/">
            <a:extLst>
              <a:ext uri="{FF2B5EF4-FFF2-40B4-BE49-F238E27FC236}">
                <a16:creationId xmlns:a16="http://schemas.microsoft.com/office/drawing/2014/main" id="{5536B7CB-7F44-42DD-93B3-5C7AF040B882}"/>
              </a:ext>
            </a:extLst>
          </p:cNvPr>
          <p:cNvSpPr>
            <a:spLocks noChangeArrowheads="1"/>
          </p:cNvSpPr>
          <p:nvPr/>
        </p:nvSpPr>
        <p:spPr bwMode="gray">
          <a:xfrm>
            <a:off x="2809804" y="3241152"/>
            <a:ext cx="1303570" cy="323386"/>
          </a:xfrm>
          <a:prstGeom prst="rect">
            <a:avLst/>
          </a:prstGeom>
          <a:solidFill>
            <a:srgbClr val="00B050"/>
          </a:soli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metal">
            <a:bevelT w="38100" h="38100"/>
          </a:sp3d>
        </p:spPr>
        <p:txBody>
          <a:bodyPr lIns="0" tIns="0" rIns="0" bIns="0" anchor="ctr"/>
          <a:lstStyle/>
          <a:p>
            <a:pPr algn="ctr" defTabSz="801688" eaLnBrk="0" hangingPunct="0"/>
            <a:r>
              <a:rPr lang="en-US" sz="800" b="1" kern="0" noProof="1">
                <a:solidFill>
                  <a:schemeClr val="bg1"/>
                </a:solidFill>
              </a:rPr>
              <a:t>Randomly Selected from </a:t>
            </a:r>
          </a:p>
          <a:p>
            <a:pPr algn="ctr" defTabSz="801688" eaLnBrk="0" hangingPunct="0"/>
            <a:r>
              <a:rPr lang="en-US" sz="800" b="1" kern="0" noProof="1">
                <a:solidFill>
                  <a:schemeClr val="bg1"/>
                </a:solidFill>
              </a:rPr>
              <a:t>Top 5 VA Contracts </a:t>
            </a:r>
          </a:p>
        </p:txBody>
      </p:sp>
      <p:sp>
        <p:nvSpPr>
          <p:cNvPr id="111" name="Rectangle 8" descr="© INSCALE GmbH, 26.05.2010&#10;http://www.presentationload.com/">
            <a:extLst>
              <a:ext uri="{FF2B5EF4-FFF2-40B4-BE49-F238E27FC236}">
                <a16:creationId xmlns:a16="http://schemas.microsoft.com/office/drawing/2014/main" id="{C94348BB-F07A-43ED-B800-9C157943CD8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803843" y="3564538"/>
            <a:ext cx="1315311" cy="310542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44000" bIns="72000"/>
          <a:lstStyle/>
          <a:p>
            <a:pPr algn="ctr" defTabSz="91440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en-US" sz="1200" b="1" kern="0" noProof="1">
                <a:solidFill>
                  <a:srgbClr val="00B050"/>
                </a:solidFill>
                <a:cs typeface="Arial" charset="0"/>
              </a:rPr>
              <a:t>13,500</a:t>
            </a:r>
          </a:p>
        </p:txBody>
      </p:sp>
      <p:sp>
        <p:nvSpPr>
          <p:cNvPr id="2" name="Arrow: Down 1">
            <a:extLst>
              <a:ext uri="{FF2B5EF4-FFF2-40B4-BE49-F238E27FC236}">
                <a16:creationId xmlns:a16="http://schemas.microsoft.com/office/drawing/2014/main" id="{989AFD9B-4488-4476-B49B-004DF1431E76}"/>
              </a:ext>
            </a:extLst>
          </p:cNvPr>
          <p:cNvSpPr/>
          <p:nvPr/>
        </p:nvSpPr>
        <p:spPr bwMode="gray">
          <a:xfrm rot="1671260">
            <a:off x="848286" y="2052162"/>
            <a:ext cx="322216" cy="255841"/>
          </a:xfrm>
          <a:prstGeom prst="downArrow">
            <a:avLst>
              <a:gd name="adj1" fmla="val 50000"/>
              <a:gd name="adj2" fmla="val 58507"/>
            </a:avLst>
          </a:prstGeom>
          <a:solidFill>
            <a:srgbClr val="CC0000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78" name="Arrow: Down 77">
            <a:extLst>
              <a:ext uri="{FF2B5EF4-FFF2-40B4-BE49-F238E27FC236}">
                <a16:creationId xmlns:a16="http://schemas.microsoft.com/office/drawing/2014/main" id="{831BD628-EF68-4A0E-8C17-CCCFC33925AE}"/>
              </a:ext>
            </a:extLst>
          </p:cNvPr>
          <p:cNvSpPr/>
          <p:nvPr/>
        </p:nvSpPr>
        <p:spPr bwMode="gray">
          <a:xfrm rot="1671260">
            <a:off x="377933" y="2929185"/>
            <a:ext cx="322216" cy="255841"/>
          </a:xfrm>
          <a:prstGeom prst="downArrow">
            <a:avLst>
              <a:gd name="adj1" fmla="val 50000"/>
              <a:gd name="adj2" fmla="val 58507"/>
            </a:avLst>
          </a:prstGeom>
          <a:solidFill>
            <a:srgbClr val="CC0000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79" name="Arrow: Down 78">
            <a:extLst>
              <a:ext uri="{FF2B5EF4-FFF2-40B4-BE49-F238E27FC236}">
                <a16:creationId xmlns:a16="http://schemas.microsoft.com/office/drawing/2014/main" id="{51A7A768-1DE7-4D0C-AB5E-78D309945090}"/>
              </a:ext>
            </a:extLst>
          </p:cNvPr>
          <p:cNvSpPr/>
          <p:nvPr/>
        </p:nvSpPr>
        <p:spPr bwMode="gray">
          <a:xfrm rot="21434448">
            <a:off x="1103608" y="2946377"/>
            <a:ext cx="322216" cy="255841"/>
          </a:xfrm>
          <a:prstGeom prst="downArrow">
            <a:avLst>
              <a:gd name="adj1" fmla="val 50000"/>
              <a:gd name="adj2" fmla="val 58507"/>
            </a:avLst>
          </a:prstGeom>
          <a:solidFill>
            <a:srgbClr val="CC0000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80" name="Arrow: Down 79">
            <a:extLst>
              <a:ext uri="{FF2B5EF4-FFF2-40B4-BE49-F238E27FC236}">
                <a16:creationId xmlns:a16="http://schemas.microsoft.com/office/drawing/2014/main" id="{E1981C4C-B87D-454A-86A2-F5F2A9CC562E}"/>
              </a:ext>
            </a:extLst>
          </p:cNvPr>
          <p:cNvSpPr/>
          <p:nvPr/>
        </p:nvSpPr>
        <p:spPr bwMode="gray">
          <a:xfrm rot="19233606">
            <a:off x="2786370" y="2058334"/>
            <a:ext cx="322216" cy="255841"/>
          </a:xfrm>
          <a:prstGeom prst="downArrow">
            <a:avLst>
              <a:gd name="adj1" fmla="val 50000"/>
              <a:gd name="adj2" fmla="val 58507"/>
            </a:avLst>
          </a:prstGeom>
          <a:solidFill>
            <a:srgbClr val="CC0000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81" name="Arrow: Down 80">
            <a:extLst>
              <a:ext uri="{FF2B5EF4-FFF2-40B4-BE49-F238E27FC236}">
                <a16:creationId xmlns:a16="http://schemas.microsoft.com/office/drawing/2014/main" id="{CC1F2707-0FEE-4B2C-9B71-BEF0F08D6832}"/>
              </a:ext>
            </a:extLst>
          </p:cNvPr>
          <p:cNvSpPr/>
          <p:nvPr/>
        </p:nvSpPr>
        <p:spPr bwMode="gray">
          <a:xfrm rot="20701893">
            <a:off x="3059757" y="2944443"/>
            <a:ext cx="322216" cy="255841"/>
          </a:xfrm>
          <a:prstGeom prst="downArrow">
            <a:avLst>
              <a:gd name="adj1" fmla="val 50000"/>
              <a:gd name="adj2" fmla="val 58507"/>
            </a:avLst>
          </a:prstGeom>
          <a:solidFill>
            <a:srgbClr val="CC0000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82" name="Arrow: Down 81">
            <a:extLst>
              <a:ext uri="{FF2B5EF4-FFF2-40B4-BE49-F238E27FC236}">
                <a16:creationId xmlns:a16="http://schemas.microsoft.com/office/drawing/2014/main" id="{252FAFCC-27F6-4AEA-BCD2-BC49810228DE}"/>
              </a:ext>
            </a:extLst>
          </p:cNvPr>
          <p:cNvSpPr/>
          <p:nvPr/>
        </p:nvSpPr>
        <p:spPr bwMode="gray">
          <a:xfrm rot="1147697">
            <a:off x="2146378" y="2944441"/>
            <a:ext cx="322216" cy="255841"/>
          </a:xfrm>
          <a:prstGeom prst="downArrow">
            <a:avLst>
              <a:gd name="adj1" fmla="val 50000"/>
              <a:gd name="adj2" fmla="val 58507"/>
            </a:avLst>
          </a:prstGeom>
          <a:solidFill>
            <a:srgbClr val="CC0000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6295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1494" y="320377"/>
            <a:ext cx="11456018" cy="731419"/>
          </a:xfrm>
        </p:spPr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Veteran Model Performance – Test Datase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61A783-BE99-414C-939D-6BED10305780}"/>
              </a:ext>
            </a:extLst>
          </p:cNvPr>
          <p:cNvSpPr txBox="1"/>
          <p:nvPr/>
        </p:nvSpPr>
        <p:spPr>
          <a:xfrm>
            <a:off x="227012" y="4136203"/>
            <a:ext cx="1081008" cy="36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621" fontAlgn="base">
              <a:spcBef>
                <a:spcPts val="1200"/>
              </a:spcBef>
            </a:pPr>
            <a:r>
              <a:rPr lang="en-US" sz="1000" b="1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Likely to be a veteran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7C4CB53-1B03-47BF-B98A-DDAD7BFDFE4D}"/>
              </a:ext>
            </a:extLst>
          </p:cNvPr>
          <p:cNvSpPr txBox="1"/>
          <p:nvPr/>
        </p:nvSpPr>
        <p:spPr>
          <a:xfrm>
            <a:off x="156379" y="5866340"/>
            <a:ext cx="1025498" cy="3351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621" fontAlgn="base">
              <a:spcBef>
                <a:spcPts val="1200"/>
              </a:spcBef>
            </a:pPr>
            <a:r>
              <a:rPr lang="en-US" sz="1000" b="1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Not likely to be a veteran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89E81E2-1646-4E0D-8928-D49CD1871E13}"/>
              </a:ext>
            </a:extLst>
          </p:cNvPr>
          <p:cNvCxnSpPr>
            <a:cxnSpLocks/>
          </p:cNvCxnSpPr>
          <p:nvPr/>
        </p:nvCxnSpPr>
        <p:spPr>
          <a:xfrm flipV="1">
            <a:off x="808764" y="4419600"/>
            <a:ext cx="0" cy="1371600"/>
          </a:xfrm>
          <a:prstGeom prst="straightConnector1">
            <a:avLst/>
          </a:prstGeom>
          <a:ln w="31750" cmpd="sng">
            <a:solidFill>
              <a:schemeClr val="accent2">
                <a:lumMod val="7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3105628-DF02-4683-AC59-E4EBDAEE3747}"/>
              </a:ext>
            </a:extLst>
          </p:cNvPr>
          <p:cNvGrpSpPr/>
          <p:nvPr/>
        </p:nvGrpSpPr>
        <p:grpSpPr>
          <a:xfrm>
            <a:off x="403493" y="344407"/>
            <a:ext cx="509184" cy="707758"/>
            <a:chOff x="-1706746" y="1081861"/>
            <a:chExt cx="509317" cy="707942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EF6C881-3438-4589-9BD6-C61BDFD37F8B}"/>
                </a:ext>
              </a:extLst>
            </p:cNvPr>
            <p:cNvSpPr/>
            <p:nvPr/>
          </p:nvSpPr>
          <p:spPr>
            <a:xfrm>
              <a:off x="-1706746" y="1081861"/>
              <a:ext cx="479743" cy="7079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999" b="1" dirty="0">
                  <a:solidFill>
                    <a:srgbClr val="C00000"/>
                  </a:solidFill>
                  <a:latin typeface="Domaine Display Bold" panose="020A0803080505060203" pitchFamily="18" charset="0"/>
                  <a:ea typeface="Open Sans" panose="020B0606030504020204" pitchFamily="34" charset="0"/>
                  <a:cs typeface="Open Sans" panose="020B0606030504020204" pitchFamily="34" charset="0"/>
                </a:rPr>
                <a:t>3</a:t>
              </a: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80454D50-B113-4BE5-9E7F-41D944C60D34}"/>
                </a:ext>
              </a:extLst>
            </p:cNvPr>
            <p:cNvCxnSpPr/>
            <p:nvPr/>
          </p:nvCxnSpPr>
          <p:spPr>
            <a:xfrm>
              <a:off x="-1197429" y="1217529"/>
              <a:ext cx="0" cy="4262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Diagramm 14">
            <a:extLst>
              <a:ext uri="{FF2B5EF4-FFF2-40B4-BE49-F238E27FC236}">
                <a16:creationId xmlns:a16="http://schemas.microsoft.com/office/drawing/2014/main" id="{8A022FF7-FBEA-4A06-99E4-6A3D62D07E4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63789087"/>
              </p:ext>
            </p:extLst>
          </p:nvPr>
        </p:nvGraphicFramePr>
        <p:xfrm>
          <a:off x="475688" y="1493774"/>
          <a:ext cx="5542526" cy="21102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AutoShape 5">
            <a:extLst>
              <a:ext uri="{FF2B5EF4-FFF2-40B4-BE49-F238E27FC236}">
                <a16:creationId xmlns:a16="http://schemas.microsoft.com/office/drawing/2014/main" id="{F338C97A-B5E9-4608-BDC0-77FD2FE33B9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9206" y="1112774"/>
            <a:ext cx="5413618" cy="381000"/>
          </a:xfrm>
          <a:prstGeom prst="homePlate">
            <a:avLst>
              <a:gd name="adj" fmla="val 21760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indent="-180000" algn="ctr">
              <a:lnSpc>
                <a:spcPct val="95000"/>
              </a:lnSpc>
              <a:spcAft>
                <a:spcPts val="800"/>
              </a:spcAft>
            </a:pPr>
            <a:r>
              <a:rPr lang="en-US" altLang="de-DE" sz="1400" b="1" noProof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tribution of Veterans and Nonveterans Across Deciles 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AC99F1D-0AE2-467C-A33C-CC13984EC51A}"/>
              </a:ext>
            </a:extLst>
          </p:cNvPr>
          <p:cNvCxnSpPr>
            <a:cxnSpLocks/>
          </p:cNvCxnSpPr>
          <p:nvPr/>
        </p:nvCxnSpPr>
        <p:spPr>
          <a:xfrm flipH="1">
            <a:off x="6184264" y="1263780"/>
            <a:ext cx="33030" cy="5211826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4A84705-A130-4CAB-969F-C4C544643E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8673447"/>
              </p:ext>
            </p:extLst>
          </p:nvPr>
        </p:nvGraphicFramePr>
        <p:xfrm>
          <a:off x="1203710" y="3985053"/>
          <a:ext cx="4204893" cy="2284804"/>
        </p:xfrm>
        <a:graphic>
          <a:graphicData uri="http://schemas.openxmlformats.org/drawingml/2006/table">
            <a:tbl>
              <a:tblPr/>
              <a:tblGrid>
                <a:gridCol w="747673">
                  <a:extLst>
                    <a:ext uri="{9D8B030D-6E8A-4147-A177-3AD203B41FA5}">
                      <a16:colId xmlns:a16="http://schemas.microsoft.com/office/drawing/2014/main" val="859938876"/>
                    </a:ext>
                  </a:extLst>
                </a:gridCol>
                <a:gridCol w="1027822">
                  <a:extLst>
                    <a:ext uri="{9D8B030D-6E8A-4147-A177-3AD203B41FA5}">
                      <a16:colId xmlns:a16="http://schemas.microsoft.com/office/drawing/2014/main" val="1030160528"/>
                    </a:ext>
                  </a:extLst>
                </a:gridCol>
                <a:gridCol w="1214699">
                  <a:extLst>
                    <a:ext uri="{9D8B030D-6E8A-4147-A177-3AD203B41FA5}">
                      <a16:colId xmlns:a16="http://schemas.microsoft.com/office/drawing/2014/main" val="1415041985"/>
                    </a:ext>
                  </a:extLst>
                </a:gridCol>
                <a:gridCol w="1214699">
                  <a:extLst>
                    <a:ext uri="{9D8B030D-6E8A-4147-A177-3AD203B41FA5}">
                      <a16:colId xmlns:a16="http://schemas.microsoft.com/office/drawing/2014/main" val="686515742"/>
                    </a:ext>
                  </a:extLst>
                </a:gridCol>
              </a:tblGrid>
              <a:tr h="36923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ecil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opulatio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ctual </a:t>
                      </a:r>
                      <a:b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Veteran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ctual </a:t>
                      </a:r>
                      <a:b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Veteran Rat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203945"/>
                  </a:ext>
                </a:extLst>
              </a:tr>
              <a:tr h="17414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9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5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5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5750010"/>
                  </a:ext>
                </a:extLst>
              </a:tr>
              <a:tr h="17414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9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7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CE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2808302"/>
                  </a:ext>
                </a:extLst>
              </a:tr>
              <a:tr h="17414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9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0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0529700"/>
                  </a:ext>
                </a:extLst>
              </a:tr>
              <a:tr h="17414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9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8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2439408"/>
                  </a:ext>
                </a:extLst>
              </a:tr>
              <a:tr h="17414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9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1899596"/>
                  </a:ext>
                </a:extLst>
              </a:tr>
              <a:tr h="17414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9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0973115"/>
                  </a:ext>
                </a:extLst>
              </a:tr>
              <a:tr h="17414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9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9119338"/>
                  </a:ext>
                </a:extLst>
              </a:tr>
              <a:tr h="17414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9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6191505"/>
                  </a:ext>
                </a:extLst>
              </a:tr>
              <a:tr h="17414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9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6429309"/>
                  </a:ext>
                </a:extLst>
              </a:tr>
              <a:tr h="17414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9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431110"/>
                  </a:ext>
                </a:extLst>
              </a:tr>
              <a:tr h="17414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veral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93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6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1485921"/>
                  </a:ext>
                </a:extLst>
              </a:tr>
            </a:tbl>
          </a:graphicData>
        </a:graphic>
      </p:graphicFrame>
      <p:sp>
        <p:nvSpPr>
          <p:cNvPr id="29" name="AutoShape 5">
            <a:extLst>
              <a:ext uri="{FF2B5EF4-FFF2-40B4-BE49-F238E27FC236}">
                <a16:creationId xmlns:a16="http://schemas.microsoft.com/office/drawing/2014/main" id="{96C0F701-478F-4D44-99E5-165BC42C30B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17614" y="1119986"/>
            <a:ext cx="5263198" cy="381000"/>
          </a:xfrm>
          <a:prstGeom prst="homePlate">
            <a:avLst>
              <a:gd name="adj" fmla="val 21760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indent="-180000" algn="ctr">
              <a:lnSpc>
                <a:spcPct val="95000"/>
              </a:lnSpc>
              <a:spcAft>
                <a:spcPts val="800"/>
              </a:spcAft>
            </a:pPr>
            <a:r>
              <a:rPr lang="en-US" altLang="de-DE" sz="1400" b="1" noProof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teran Capture Rate Across Top 2-5 Deciles 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CA0D11A-953C-4667-8213-28BC24A106E0}"/>
              </a:ext>
            </a:extLst>
          </p:cNvPr>
          <p:cNvCxnSpPr>
            <a:cxnSpLocks/>
          </p:cNvCxnSpPr>
          <p:nvPr/>
        </p:nvCxnSpPr>
        <p:spPr>
          <a:xfrm>
            <a:off x="280950" y="3642153"/>
            <a:ext cx="5936344" cy="0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2">
            <a:extLst>
              <a:ext uri="{FF2B5EF4-FFF2-40B4-BE49-F238E27FC236}">
                <a16:creationId xmlns:a16="http://schemas.microsoft.com/office/drawing/2014/main" id="{CD0B364F-2247-4353-B039-DB28F26726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4114" y="1481772"/>
            <a:ext cx="5062447" cy="2559190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190500" indent="-190500" algn="ctr" defTabSz="91440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endParaRPr lang="en-US" sz="1400" b="1" kern="0" noProof="1">
              <a:solidFill>
                <a:sysClr val="window" lastClr="FFFFFF">
                  <a:lumMod val="50000"/>
                </a:sysClr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cs typeface="Arial" charset="0"/>
            </a:endParaRPr>
          </a:p>
        </p:txBody>
      </p:sp>
      <p:grpSp>
        <p:nvGrpSpPr>
          <p:cNvPr id="40" name="Gruppieren 82">
            <a:extLst>
              <a:ext uri="{FF2B5EF4-FFF2-40B4-BE49-F238E27FC236}">
                <a16:creationId xmlns:a16="http://schemas.microsoft.com/office/drawing/2014/main" id="{BF877BE4-56F0-41A1-AE18-BD3D599C2E6A}"/>
              </a:ext>
            </a:extLst>
          </p:cNvPr>
          <p:cNvGrpSpPr/>
          <p:nvPr/>
        </p:nvGrpSpPr>
        <p:grpSpPr bwMode="gray">
          <a:xfrm>
            <a:off x="6326186" y="3049818"/>
            <a:ext cx="5066875" cy="590196"/>
            <a:chOff x="0" y="4236720"/>
            <a:chExt cx="9144000" cy="2404428"/>
          </a:xfrm>
        </p:grpSpPr>
        <p:sp>
          <p:nvSpPr>
            <p:cNvPr id="41" name="Rechteck 30">
              <a:extLst>
                <a:ext uri="{FF2B5EF4-FFF2-40B4-BE49-F238E27FC236}">
                  <a16:creationId xmlns:a16="http://schemas.microsoft.com/office/drawing/2014/main" id="{422D9BF5-CB7B-4D84-ADA4-25CDF80D2F17}"/>
                </a:ext>
              </a:extLst>
            </p:cNvPr>
            <p:cNvSpPr/>
            <p:nvPr/>
          </p:nvSpPr>
          <p:spPr bwMode="gray">
            <a:xfrm>
              <a:off x="0" y="4389120"/>
              <a:ext cx="9144000" cy="2252028"/>
            </a:xfrm>
            <a:prstGeom prst="rect">
              <a:avLst/>
            </a:prstGeom>
            <a:gradFill flip="none" rotWithShape="1">
              <a:gsLst>
                <a:gs pos="98000">
                  <a:srgbClr val="FFFFFF">
                    <a:alpha val="0"/>
                  </a:srgbClr>
                </a:gs>
                <a:gs pos="0">
                  <a:sysClr val="windowText" lastClr="000000">
                    <a:alpha val="26000"/>
                  </a:sys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 defTabSz="914400">
                <a:defRPr/>
              </a:pPr>
              <a:endParaRPr lang="en-US" kern="0" noProof="1">
                <a:solidFill>
                  <a:sysClr val="windowText" lastClr="000000"/>
                </a:solidFill>
              </a:endParaRPr>
            </a:p>
          </p:txBody>
        </p:sp>
        <p:sp>
          <p:nvSpPr>
            <p:cNvPr id="42" name="Rechteck 31">
              <a:extLst>
                <a:ext uri="{FF2B5EF4-FFF2-40B4-BE49-F238E27FC236}">
                  <a16:creationId xmlns:a16="http://schemas.microsoft.com/office/drawing/2014/main" id="{94010B95-2DE1-443D-B8FD-A54AC3C8C0BE}"/>
                </a:ext>
              </a:extLst>
            </p:cNvPr>
            <p:cNvSpPr/>
            <p:nvPr/>
          </p:nvSpPr>
          <p:spPr bwMode="gray">
            <a:xfrm flipV="1">
              <a:off x="0" y="4236720"/>
              <a:ext cx="9144000" cy="152400"/>
            </a:xfrm>
            <a:prstGeom prst="rect">
              <a:avLst/>
            </a:prstGeom>
            <a:gradFill flip="none" rotWithShape="1">
              <a:gsLst>
                <a:gs pos="98000">
                  <a:srgbClr val="FFFFFF">
                    <a:alpha val="0"/>
                  </a:srgbClr>
                </a:gs>
                <a:gs pos="0">
                  <a:sysClr val="windowText" lastClr="000000">
                    <a:alpha val="26000"/>
                  </a:sys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 defTabSz="914400">
                <a:defRPr/>
              </a:pPr>
              <a:endParaRPr lang="en-US" kern="0" noProof="1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45" name="Rectangle 99">
            <a:extLst>
              <a:ext uri="{FF2B5EF4-FFF2-40B4-BE49-F238E27FC236}">
                <a16:creationId xmlns:a16="http://schemas.microsoft.com/office/drawing/2014/main" id="{C1B9F20B-9F9D-4F19-BD58-3079B8B3F3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1018" y="1569466"/>
            <a:ext cx="133742" cy="131994"/>
          </a:xfrm>
          <a:prstGeom prst="rect">
            <a:avLst/>
          </a:prstGeom>
          <a:solidFill>
            <a:srgbClr val="92D050"/>
          </a:solidFill>
          <a:ln w="9525">
            <a:solidFill>
              <a:sysClr val="window" lastClr="FFFFFF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46" name="Rectangle 4">
            <a:extLst>
              <a:ext uri="{FF2B5EF4-FFF2-40B4-BE49-F238E27FC236}">
                <a16:creationId xmlns:a16="http://schemas.microsoft.com/office/drawing/2014/main" id="{68ECC558-57DA-43FD-8DFD-605417581613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11580" y="1542290"/>
            <a:ext cx="1109273" cy="1863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>
              <a:defRPr/>
            </a:pPr>
            <a:r>
              <a:rPr lang="en-US" sz="1000" kern="0" dirty="0">
                <a:solidFill>
                  <a:sysClr val="windowText" lastClr="000000"/>
                </a:solidFill>
              </a:rPr>
              <a:t>Veterans</a:t>
            </a:r>
          </a:p>
        </p:txBody>
      </p:sp>
      <p:graphicFrame>
        <p:nvGraphicFramePr>
          <p:cNvPr id="47" name="Object 9">
            <a:extLst>
              <a:ext uri="{FF2B5EF4-FFF2-40B4-BE49-F238E27FC236}">
                <a16:creationId xmlns:a16="http://schemas.microsoft.com/office/drawing/2014/main" id="{77BCBAE9-0B31-40D7-A901-6FEEEBB9E7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309484"/>
              </p:ext>
            </p:extLst>
          </p:nvPr>
        </p:nvGraphicFramePr>
        <p:xfrm>
          <a:off x="6372313" y="1769939"/>
          <a:ext cx="5029417" cy="48728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32" name="Picture 31">
            <a:extLst>
              <a:ext uri="{FF2B5EF4-FFF2-40B4-BE49-F238E27FC236}">
                <a16:creationId xmlns:a16="http://schemas.microsoft.com/office/drawing/2014/main" id="{7FD0117B-5792-407C-A902-7822570AFD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7614" y="4026550"/>
            <a:ext cx="5084116" cy="224331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ECFD6BF-66B6-4402-8DFD-FB7E059A624D}"/>
              </a:ext>
            </a:extLst>
          </p:cNvPr>
          <p:cNvSpPr txBox="1"/>
          <p:nvPr/>
        </p:nvSpPr>
        <p:spPr>
          <a:xfrm>
            <a:off x="6343322" y="4174439"/>
            <a:ext cx="5043239" cy="19619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defTabSz="456621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The model accuracy rate is </a:t>
            </a:r>
            <a:r>
              <a:rPr lang="en-US" sz="1999" b="1" dirty="0">
                <a:solidFill>
                  <a:srgbClr val="00B050"/>
                </a:solidFill>
                <a:latin typeface="Open Sans" charset="0"/>
                <a:ea typeface="Open Sans" charset="0"/>
                <a:cs typeface="Open Sans" charset="0"/>
              </a:rPr>
              <a:t>94</a:t>
            </a:r>
            <a:r>
              <a:rPr lang="en-US" sz="1999" b="1" dirty="0">
                <a:solidFill>
                  <a:srgbClr val="00B050"/>
                </a:solidFill>
                <a:latin typeface="Open Sans" charset="0"/>
              </a:rPr>
              <a:t>.0%</a:t>
            </a:r>
            <a:r>
              <a:rPr lang="en-US" sz="1400" b="1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. </a:t>
            </a:r>
          </a:p>
          <a:p>
            <a:pPr marL="847329" lvl="1" indent="-285750" defTabSz="456621" fontAlgn="base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1400" b="1" dirty="0">
                <a:solidFill>
                  <a:srgbClr val="00B050"/>
                </a:solidFill>
                <a:latin typeface="Open Sans" charset="0"/>
                <a:ea typeface="Open Sans" charset="0"/>
                <a:cs typeface="Open Sans" charset="0"/>
              </a:rPr>
              <a:t>Top 2 </a:t>
            </a:r>
            <a:r>
              <a:rPr lang="en-US" sz="1100" b="1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Deciles  capture </a:t>
            </a:r>
            <a:r>
              <a:rPr lang="en-US" sz="1400" b="1" dirty="0">
                <a:solidFill>
                  <a:srgbClr val="00B050"/>
                </a:solidFill>
                <a:latin typeface="Open Sans" charset="0"/>
                <a:ea typeface="Open Sans" charset="0"/>
                <a:cs typeface="Open Sans" charset="0"/>
              </a:rPr>
              <a:t>65%</a:t>
            </a: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1100" b="1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of the veteran.</a:t>
            </a:r>
          </a:p>
          <a:p>
            <a:pPr marL="847329" lvl="1" indent="-285750" defTabSz="456621" fontAlgn="base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1400" b="1" dirty="0">
                <a:solidFill>
                  <a:srgbClr val="00B050"/>
                </a:solidFill>
                <a:latin typeface="Open Sans" charset="0"/>
                <a:ea typeface="Open Sans" charset="0"/>
                <a:cs typeface="Open Sans" charset="0"/>
              </a:rPr>
              <a:t>Top 3 </a:t>
            </a:r>
            <a:r>
              <a:rPr lang="en-US" sz="1100" b="1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Deciles  capture </a:t>
            </a:r>
            <a:r>
              <a:rPr lang="en-US" sz="1400" b="1" dirty="0">
                <a:solidFill>
                  <a:srgbClr val="00B050"/>
                </a:solidFill>
                <a:latin typeface="Open Sans" charset="0"/>
                <a:ea typeface="Open Sans" charset="0"/>
                <a:cs typeface="Open Sans" charset="0"/>
              </a:rPr>
              <a:t>85%</a:t>
            </a: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1100" b="1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of the veteran.</a:t>
            </a:r>
          </a:p>
          <a:p>
            <a:pPr marL="847329" lvl="1" indent="-285750" defTabSz="456621" fontAlgn="base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1400" b="1" dirty="0">
                <a:solidFill>
                  <a:srgbClr val="00B050"/>
                </a:solidFill>
                <a:latin typeface="Open Sans" charset="0"/>
                <a:ea typeface="Open Sans" charset="0"/>
                <a:cs typeface="Open Sans" charset="0"/>
              </a:rPr>
              <a:t>Top 4 </a:t>
            </a:r>
            <a:r>
              <a:rPr lang="en-US" sz="1100" b="1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Deciles  capture </a:t>
            </a:r>
            <a:r>
              <a:rPr lang="en-US" sz="1400" b="1" dirty="0">
                <a:solidFill>
                  <a:srgbClr val="00B050"/>
                </a:solidFill>
                <a:latin typeface="Open Sans" charset="0"/>
                <a:ea typeface="Open Sans" charset="0"/>
                <a:cs typeface="Open Sans" charset="0"/>
              </a:rPr>
              <a:t>98%</a:t>
            </a: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1100" b="1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of the veteran.</a:t>
            </a:r>
          </a:p>
          <a:p>
            <a:pPr marL="847329" lvl="1" indent="-285750" defTabSz="456621" fontAlgn="base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1400" b="1" dirty="0">
                <a:solidFill>
                  <a:srgbClr val="00B050"/>
                </a:solidFill>
                <a:latin typeface="Open Sans" charset="0"/>
                <a:ea typeface="Open Sans" charset="0"/>
                <a:cs typeface="Open Sans" charset="0"/>
              </a:rPr>
              <a:t>Top 5 </a:t>
            </a:r>
            <a:r>
              <a:rPr lang="en-US" sz="1100" b="1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Deciles  capture </a:t>
            </a:r>
            <a:r>
              <a:rPr lang="en-US" sz="1400" b="1" dirty="0">
                <a:solidFill>
                  <a:srgbClr val="00B050"/>
                </a:solidFill>
                <a:latin typeface="Open Sans" charset="0"/>
                <a:ea typeface="Open Sans" charset="0"/>
                <a:cs typeface="Open Sans" charset="0"/>
              </a:rPr>
              <a:t>100 % </a:t>
            </a:r>
            <a:r>
              <a:rPr lang="en-US" sz="1100" b="1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of the veteran.</a:t>
            </a:r>
            <a:endParaRPr lang="en-US" sz="1100" b="1" dirty="0">
              <a:solidFill>
                <a:schemeClr val="accent2">
                  <a:lumMod val="75000"/>
                </a:schemeClr>
              </a:solidFill>
              <a:latin typeface="Ope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1381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2">
            <a:extLst>
              <a:ext uri="{FF2B5EF4-FFF2-40B4-BE49-F238E27FC236}">
                <a16:creationId xmlns:a16="http://schemas.microsoft.com/office/drawing/2014/main" id="{BB701C7E-6691-4B45-97E7-DDA4BC14A2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7929" y="1145704"/>
            <a:ext cx="5710141" cy="4243801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190500" marR="0" lvl="0" indent="-19050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969696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1">
              <a:ln>
                <a:noFill/>
              </a:ln>
              <a:solidFill>
                <a:sysClr val="window" lastClr="FFFFFF">
                  <a:lumMod val="50000"/>
                </a:sysClr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uLnTx/>
              <a:uFillTx/>
              <a:latin typeface="Open Sans Light"/>
              <a:ea typeface="+mn-ea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5220" y="305614"/>
            <a:ext cx="10590343" cy="731419"/>
          </a:xfrm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Top </a:t>
            </a:r>
            <a:r>
              <a:rPr lang="en-US" sz="2800" dirty="0">
                <a:solidFill>
                  <a:srgbClr val="C00000"/>
                </a:solidFill>
              </a:rPr>
              <a:t>Key</a:t>
            </a:r>
            <a:r>
              <a:rPr lang="en-US" dirty="0">
                <a:solidFill>
                  <a:srgbClr val="C00000"/>
                </a:solidFill>
              </a:rPr>
              <a:t> Drives to Identify Veteran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5F31510-A14B-4DF7-9D94-D332D8165EEA}"/>
              </a:ext>
            </a:extLst>
          </p:cNvPr>
          <p:cNvSpPr txBox="1"/>
          <p:nvPr/>
        </p:nvSpPr>
        <p:spPr>
          <a:xfrm>
            <a:off x="6651529" y="1383649"/>
            <a:ext cx="174060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b="1" dirty="0">
                <a:solidFill>
                  <a:srgbClr val="00B050"/>
                </a:solidFill>
              </a:rPr>
              <a:t>1.6X to be a Veteran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4274038-E156-41B4-9E9F-F1C36DF1604D}"/>
              </a:ext>
            </a:extLst>
          </p:cNvPr>
          <p:cNvCxnSpPr/>
          <p:nvPr/>
        </p:nvCxnSpPr>
        <p:spPr>
          <a:xfrm>
            <a:off x="6819457" y="1627211"/>
            <a:ext cx="1066800" cy="0"/>
          </a:xfrm>
          <a:prstGeom prst="line">
            <a:avLst/>
          </a:prstGeom>
          <a:ln w="127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5797386-B679-4DDD-B7E2-236B54537110}"/>
              </a:ext>
            </a:extLst>
          </p:cNvPr>
          <p:cNvSpPr txBox="1"/>
          <p:nvPr/>
        </p:nvSpPr>
        <p:spPr>
          <a:xfrm>
            <a:off x="6395439" y="1703597"/>
            <a:ext cx="224675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Every additional 5 miles that </a:t>
            </a:r>
          </a:p>
          <a:p>
            <a:pPr algn="ctr"/>
            <a:r>
              <a:rPr lang="en-US" sz="1200" dirty="0">
                <a:solidFill>
                  <a:schemeClr val="tx2"/>
                </a:solidFill>
              </a:rPr>
              <a:t>the member lives away from the VA hospit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2A51A91-03D7-49A3-AF61-07511951FA0D}"/>
              </a:ext>
            </a:extLst>
          </p:cNvPr>
          <p:cNvSpPr txBox="1"/>
          <p:nvPr/>
        </p:nvSpPr>
        <p:spPr>
          <a:xfrm>
            <a:off x="8757556" y="1398797"/>
            <a:ext cx="226114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rgbClr val="C00000"/>
                </a:solidFill>
              </a:rPr>
              <a:t>1.2X to be a Nonveteran 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C65E9A8-52CA-4037-9071-AF12EF8D208E}"/>
              </a:ext>
            </a:extLst>
          </p:cNvPr>
          <p:cNvCxnSpPr/>
          <p:nvPr/>
        </p:nvCxnSpPr>
        <p:spPr>
          <a:xfrm>
            <a:off x="9257857" y="1627211"/>
            <a:ext cx="1066800" cy="0"/>
          </a:xfrm>
          <a:prstGeom prst="line">
            <a:avLst/>
          </a:prstGeom>
          <a:ln w="127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BC671A8B-C09B-4132-BD8B-B89974F2E8F3}"/>
              </a:ext>
            </a:extLst>
          </p:cNvPr>
          <p:cNvSpPr txBox="1"/>
          <p:nvPr/>
        </p:nvSpPr>
        <p:spPr>
          <a:xfrm>
            <a:off x="8948123" y="1699138"/>
            <a:ext cx="194755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Every additional year that </a:t>
            </a:r>
          </a:p>
          <a:p>
            <a:pPr algn="ctr"/>
            <a:r>
              <a:rPr lang="en-US" sz="1200" dirty="0">
                <a:solidFill>
                  <a:schemeClr val="tx2"/>
                </a:solidFill>
              </a:rPr>
              <a:t>the member enroll with the pla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9FB5293-1372-455F-9DB6-617B430A3FEC}"/>
              </a:ext>
            </a:extLst>
          </p:cNvPr>
          <p:cNvSpPr txBox="1"/>
          <p:nvPr/>
        </p:nvSpPr>
        <p:spPr>
          <a:xfrm>
            <a:off x="6523645" y="2467059"/>
            <a:ext cx="174060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b="1" dirty="0">
                <a:solidFill>
                  <a:srgbClr val="00B050"/>
                </a:solidFill>
              </a:rPr>
              <a:t>1.3X to be a Veteran 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315F73F-F525-43CB-8B1B-C86E23BF41E2}"/>
              </a:ext>
            </a:extLst>
          </p:cNvPr>
          <p:cNvCxnSpPr/>
          <p:nvPr/>
        </p:nvCxnSpPr>
        <p:spPr>
          <a:xfrm>
            <a:off x="6819457" y="2720324"/>
            <a:ext cx="1066800" cy="0"/>
          </a:xfrm>
          <a:prstGeom prst="line">
            <a:avLst/>
          </a:prstGeom>
          <a:ln w="127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B7EA42D0-4615-427E-8BA2-349AAFA6A7B0}"/>
              </a:ext>
            </a:extLst>
          </p:cNvPr>
          <p:cNvSpPr txBox="1"/>
          <p:nvPr/>
        </p:nvSpPr>
        <p:spPr>
          <a:xfrm>
            <a:off x="6700836" y="3953515"/>
            <a:ext cx="1553310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With colorectal cancer </a:t>
            </a:r>
          </a:p>
          <a:p>
            <a:pPr algn="ctr"/>
            <a:r>
              <a:rPr lang="en-US" sz="1200" dirty="0">
                <a:solidFill>
                  <a:schemeClr val="tx2"/>
                </a:solidFill>
              </a:rPr>
              <a:t>noncomplia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E883002-14C4-45E1-90E3-BFACB88A9809}"/>
              </a:ext>
            </a:extLst>
          </p:cNvPr>
          <p:cNvSpPr txBox="1"/>
          <p:nvPr/>
        </p:nvSpPr>
        <p:spPr>
          <a:xfrm>
            <a:off x="8785086" y="2491910"/>
            <a:ext cx="207749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rgbClr val="C00000"/>
                </a:solidFill>
              </a:rPr>
              <a:t>2.3X to be a Nonveteran 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8F3D644-B294-467C-991B-9DC628EF9284}"/>
              </a:ext>
            </a:extLst>
          </p:cNvPr>
          <p:cNvCxnSpPr/>
          <p:nvPr/>
        </p:nvCxnSpPr>
        <p:spPr>
          <a:xfrm>
            <a:off x="9257857" y="2720324"/>
            <a:ext cx="1066800" cy="0"/>
          </a:xfrm>
          <a:prstGeom prst="line">
            <a:avLst/>
          </a:prstGeom>
          <a:ln w="127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D86ABB8C-7FE3-4AC3-8A58-466ED41E1C23}"/>
              </a:ext>
            </a:extLst>
          </p:cNvPr>
          <p:cNvSpPr txBox="1"/>
          <p:nvPr/>
        </p:nvSpPr>
        <p:spPr>
          <a:xfrm>
            <a:off x="8948123" y="4004251"/>
            <a:ext cx="203215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Two fewer distinct drug taken 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A418F9E-FB1F-41C9-B385-E45147BD9769}"/>
              </a:ext>
            </a:extLst>
          </p:cNvPr>
          <p:cNvCxnSpPr/>
          <p:nvPr/>
        </p:nvCxnSpPr>
        <p:spPr>
          <a:xfrm>
            <a:off x="6819457" y="3828585"/>
            <a:ext cx="1066800" cy="0"/>
          </a:xfrm>
          <a:prstGeom prst="line">
            <a:avLst/>
          </a:prstGeom>
          <a:ln w="127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53CC2469-4D79-4141-BC81-86C5C5D3FE50}"/>
              </a:ext>
            </a:extLst>
          </p:cNvPr>
          <p:cNvSpPr txBox="1"/>
          <p:nvPr/>
        </p:nvSpPr>
        <p:spPr>
          <a:xfrm>
            <a:off x="6395439" y="2877999"/>
            <a:ext cx="210634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Every 5 additional years of ag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0A28F7E-76E8-4F5C-AE61-6F001199F4EF}"/>
              </a:ext>
            </a:extLst>
          </p:cNvPr>
          <p:cNvSpPr txBox="1"/>
          <p:nvPr/>
        </p:nvSpPr>
        <p:spPr>
          <a:xfrm>
            <a:off x="8807415" y="3556720"/>
            <a:ext cx="207749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rgbClr val="C00000"/>
                </a:solidFill>
              </a:rPr>
              <a:t>1.4X to be a Nonveteran 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427D0C0-79C7-4EFF-8D44-426EBF401BE4}"/>
              </a:ext>
            </a:extLst>
          </p:cNvPr>
          <p:cNvCxnSpPr/>
          <p:nvPr/>
        </p:nvCxnSpPr>
        <p:spPr>
          <a:xfrm>
            <a:off x="9354726" y="3785134"/>
            <a:ext cx="1066800" cy="0"/>
          </a:xfrm>
          <a:prstGeom prst="line">
            <a:avLst/>
          </a:prstGeom>
          <a:ln w="127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94DCAD58-E6BB-43CF-827A-F25994551BCF}"/>
              </a:ext>
            </a:extLst>
          </p:cNvPr>
          <p:cNvSpPr txBox="1"/>
          <p:nvPr/>
        </p:nvSpPr>
        <p:spPr>
          <a:xfrm>
            <a:off x="8992557" y="2926470"/>
            <a:ext cx="198772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With breast cancer screening</a:t>
            </a:r>
          </a:p>
          <a:p>
            <a:pPr algn="ctr"/>
            <a:r>
              <a:rPr lang="en-US" sz="1200" dirty="0">
                <a:solidFill>
                  <a:schemeClr val="tx2"/>
                </a:solidFill>
              </a:rPr>
              <a:t>noncompliant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6D1098A-1DC7-4343-8479-DB2DE483E6ED}"/>
              </a:ext>
            </a:extLst>
          </p:cNvPr>
          <p:cNvCxnSpPr/>
          <p:nvPr/>
        </p:nvCxnSpPr>
        <p:spPr>
          <a:xfrm>
            <a:off x="6819457" y="4857427"/>
            <a:ext cx="1066800" cy="0"/>
          </a:xfrm>
          <a:prstGeom prst="line">
            <a:avLst/>
          </a:prstGeom>
          <a:ln w="127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CBBB80A-B25E-4CCE-B9AA-BC13A4247243}"/>
              </a:ext>
            </a:extLst>
          </p:cNvPr>
          <p:cNvSpPr txBox="1"/>
          <p:nvPr/>
        </p:nvSpPr>
        <p:spPr>
          <a:xfrm>
            <a:off x="6852933" y="4938791"/>
            <a:ext cx="105637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With disabiliti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8C325AE-5006-4429-B598-43548361D107}"/>
              </a:ext>
            </a:extLst>
          </p:cNvPr>
          <p:cNvSpPr txBox="1"/>
          <p:nvPr/>
        </p:nvSpPr>
        <p:spPr>
          <a:xfrm>
            <a:off x="8881955" y="4585562"/>
            <a:ext cx="207749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rgbClr val="C00000"/>
                </a:solidFill>
              </a:rPr>
              <a:t>2.3X to be a Nonveteran 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66A938-D1D6-41E6-A14C-7C62E5DF2CFA}"/>
              </a:ext>
            </a:extLst>
          </p:cNvPr>
          <p:cNvCxnSpPr/>
          <p:nvPr/>
        </p:nvCxnSpPr>
        <p:spPr>
          <a:xfrm>
            <a:off x="9354726" y="4813976"/>
            <a:ext cx="1066800" cy="0"/>
          </a:xfrm>
          <a:prstGeom prst="line">
            <a:avLst/>
          </a:prstGeom>
          <a:ln w="127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EC9654AE-9E81-4ECD-B453-322B70BA9A32}"/>
              </a:ext>
            </a:extLst>
          </p:cNvPr>
          <p:cNvSpPr txBox="1"/>
          <p:nvPr/>
        </p:nvSpPr>
        <p:spPr>
          <a:xfrm>
            <a:off x="9354726" y="4870370"/>
            <a:ext cx="185974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With Primary Care Physician assigned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9557F3B-A0D3-4FCE-96D5-E7F4FB9370E7}"/>
              </a:ext>
            </a:extLst>
          </p:cNvPr>
          <p:cNvSpPr txBox="1"/>
          <p:nvPr/>
        </p:nvSpPr>
        <p:spPr>
          <a:xfrm>
            <a:off x="6037402" y="5498177"/>
            <a:ext cx="5560443" cy="10618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chemeClr val="tx2"/>
                </a:solidFill>
              </a:rPr>
              <a:t>Not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2"/>
                </a:solidFill>
              </a:rPr>
              <a:t>Top drivers are based on the test dataset contains sample active members as of 06/202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2"/>
                </a:solidFill>
              </a:rPr>
              <a:t>Veterans status were self reported in survey, no third-party verification for their veteran stat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2"/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69E9CE0-D739-4956-96A2-3DD96F256ED8}"/>
              </a:ext>
            </a:extLst>
          </p:cNvPr>
          <p:cNvGrpSpPr/>
          <p:nvPr/>
        </p:nvGrpSpPr>
        <p:grpSpPr>
          <a:xfrm>
            <a:off x="403491" y="344407"/>
            <a:ext cx="514885" cy="707758"/>
            <a:chOff x="-1706746" y="1081861"/>
            <a:chExt cx="515019" cy="707942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8C7AEEE5-5D7D-4CE2-A8A5-E015559C6DAD}"/>
                </a:ext>
              </a:extLst>
            </p:cNvPr>
            <p:cNvSpPr/>
            <p:nvPr/>
          </p:nvSpPr>
          <p:spPr>
            <a:xfrm>
              <a:off x="-1706746" y="1081861"/>
              <a:ext cx="515019" cy="7079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999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Domaine Display Bold" panose="020A0803080505060203" pitchFamily="18" charset="0"/>
                  <a:ea typeface="Open Sans" panose="020B0606030504020204" pitchFamily="34" charset="0"/>
                  <a:cs typeface="Open Sans" panose="020B0606030504020204" pitchFamily="34" charset="0"/>
                </a:rPr>
                <a:t>4</a:t>
              </a: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02C5100C-D13C-4B36-961D-207FFE201C14}"/>
                </a:ext>
              </a:extLst>
            </p:cNvPr>
            <p:cNvCxnSpPr/>
            <p:nvPr/>
          </p:nvCxnSpPr>
          <p:spPr>
            <a:xfrm>
              <a:off x="-1197429" y="1217529"/>
              <a:ext cx="0" cy="4262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AutoShape 5">
            <a:extLst>
              <a:ext uri="{FF2B5EF4-FFF2-40B4-BE49-F238E27FC236}">
                <a16:creationId xmlns:a16="http://schemas.microsoft.com/office/drawing/2014/main" id="{657F8CB2-756A-41A8-9B7C-B88B1CE4CE6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3491" y="1083208"/>
            <a:ext cx="5314050" cy="381000"/>
          </a:xfrm>
          <a:prstGeom prst="homePlate">
            <a:avLst>
              <a:gd name="adj" fmla="val 21760"/>
            </a:avLst>
          </a:prstGeom>
          <a:solidFill>
            <a:srgbClr val="00B05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indent="-180000" algn="ctr">
              <a:lnSpc>
                <a:spcPct val="95000"/>
              </a:lnSpc>
              <a:spcAft>
                <a:spcPts val="800"/>
              </a:spcAft>
            </a:pPr>
            <a:r>
              <a:rPr lang="en-US" altLang="de-DE" sz="1400" b="1" noProof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itive Veteran Key Drivers (Importance)</a:t>
            </a:r>
          </a:p>
        </p:txBody>
      </p:sp>
      <p:sp>
        <p:nvSpPr>
          <p:cNvPr id="41" name="Rectangle 2">
            <a:extLst>
              <a:ext uri="{FF2B5EF4-FFF2-40B4-BE49-F238E27FC236}">
                <a16:creationId xmlns:a16="http://schemas.microsoft.com/office/drawing/2014/main" id="{8B9EFEC0-EEEF-4BF0-9487-BEA00F3CA4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9127" y="1446919"/>
            <a:ext cx="5199884" cy="2153252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190500" indent="-190500" algn="ctr" defTabSz="91440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endParaRPr lang="en-US" sz="1400" b="1" kern="0" noProof="1">
              <a:solidFill>
                <a:sysClr val="window" lastClr="FFFFFF">
                  <a:lumMod val="50000"/>
                </a:sysClr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cs typeface="Arial" charset="0"/>
            </a:endParaRPr>
          </a:p>
        </p:txBody>
      </p:sp>
      <p:graphicFrame>
        <p:nvGraphicFramePr>
          <p:cNvPr id="52" name="Object 9">
            <a:extLst>
              <a:ext uri="{FF2B5EF4-FFF2-40B4-BE49-F238E27FC236}">
                <a16:creationId xmlns:a16="http://schemas.microsoft.com/office/drawing/2014/main" id="{6814F4BE-CB28-4F6F-A8CA-4DB610E9354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42608121"/>
              </p:ext>
            </p:extLst>
          </p:nvPr>
        </p:nvGraphicFramePr>
        <p:xfrm>
          <a:off x="429126" y="1464208"/>
          <a:ext cx="5199884" cy="213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5" name="AutoShape 5">
            <a:extLst>
              <a:ext uri="{FF2B5EF4-FFF2-40B4-BE49-F238E27FC236}">
                <a16:creationId xmlns:a16="http://schemas.microsoft.com/office/drawing/2014/main" id="{CBA17B45-36BE-47A1-9259-5EAF07DFA579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7377" y="3790671"/>
            <a:ext cx="5310164" cy="381000"/>
          </a:xfrm>
          <a:prstGeom prst="homePlate">
            <a:avLst>
              <a:gd name="adj" fmla="val 21760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indent="-180000" algn="ctr">
              <a:lnSpc>
                <a:spcPct val="95000"/>
              </a:lnSpc>
              <a:spcAft>
                <a:spcPts val="800"/>
              </a:spcAft>
            </a:pPr>
            <a:r>
              <a:rPr lang="en-US" altLang="de-DE" sz="1400" b="1" noProof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gative Veteran Key Drivers (Importance)</a:t>
            </a:r>
          </a:p>
        </p:txBody>
      </p:sp>
      <p:sp>
        <p:nvSpPr>
          <p:cNvPr id="56" name="Rectangle 2">
            <a:extLst>
              <a:ext uri="{FF2B5EF4-FFF2-40B4-BE49-F238E27FC236}">
                <a16:creationId xmlns:a16="http://schemas.microsoft.com/office/drawing/2014/main" id="{ED30535E-1A2A-4A4C-A125-EAF3FF8880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3491" y="4171671"/>
            <a:ext cx="5225519" cy="2153252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190500" indent="-190500" algn="ctr" defTabSz="91440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endParaRPr lang="en-US" sz="1400" b="1" kern="0" noProof="1">
              <a:solidFill>
                <a:sysClr val="window" lastClr="FFFFFF">
                  <a:lumMod val="50000"/>
                </a:sysClr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cs typeface="Arial" charset="0"/>
            </a:endParaRPr>
          </a:p>
        </p:txBody>
      </p:sp>
      <p:graphicFrame>
        <p:nvGraphicFramePr>
          <p:cNvPr id="57" name="Object 9">
            <a:extLst>
              <a:ext uri="{FF2B5EF4-FFF2-40B4-BE49-F238E27FC236}">
                <a16:creationId xmlns:a16="http://schemas.microsoft.com/office/drawing/2014/main" id="{4121D58A-F7D2-4249-9789-3CCDAD9580B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49570334"/>
              </p:ext>
            </p:extLst>
          </p:nvPr>
        </p:nvGraphicFramePr>
        <p:xfrm>
          <a:off x="411373" y="4187477"/>
          <a:ext cx="5225519" cy="21374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9" name="TextBox 58">
            <a:extLst>
              <a:ext uri="{FF2B5EF4-FFF2-40B4-BE49-F238E27FC236}">
                <a16:creationId xmlns:a16="http://schemas.microsoft.com/office/drawing/2014/main" id="{D4260412-3BF1-48F0-ACA7-38CC76079729}"/>
              </a:ext>
            </a:extLst>
          </p:cNvPr>
          <p:cNvSpPr txBox="1"/>
          <p:nvPr/>
        </p:nvSpPr>
        <p:spPr>
          <a:xfrm>
            <a:off x="6515129" y="3556720"/>
            <a:ext cx="174060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b="1" dirty="0">
                <a:solidFill>
                  <a:srgbClr val="00B050"/>
                </a:solidFill>
              </a:rPr>
              <a:t>1.9X to be a Veteran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96A4557-8EF0-4074-80AC-11E480187EC1}"/>
              </a:ext>
            </a:extLst>
          </p:cNvPr>
          <p:cNvSpPr txBox="1"/>
          <p:nvPr/>
        </p:nvSpPr>
        <p:spPr>
          <a:xfrm>
            <a:off x="6523645" y="4560620"/>
            <a:ext cx="174060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b="1" dirty="0">
                <a:solidFill>
                  <a:srgbClr val="00B050"/>
                </a:solidFill>
              </a:rPr>
              <a:t>1.6X to be a Veteran 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0DB4DFFF-C885-4902-A78B-748211E92F96}"/>
              </a:ext>
            </a:extLst>
          </p:cNvPr>
          <p:cNvCxnSpPr>
            <a:cxnSpLocks/>
          </p:cNvCxnSpPr>
          <p:nvPr/>
        </p:nvCxnSpPr>
        <p:spPr>
          <a:xfrm flipH="1">
            <a:off x="5817735" y="1099372"/>
            <a:ext cx="33030" cy="5211826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2486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AC4DD7A-919C-4BC2-892F-F0D8320558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36960" y="1554858"/>
            <a:ext cx="4376796" cy="2605321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F3E86CD1-DFB9-4C2F-99E3-150EC6E5A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0012" y="388854"/>
            <a:ext cx="10334305" cy="731330"/>
          </a:xfrm>
        </p:spPr>
        <p:txBody>
          <a:bodyPr/>
          <a:lstStyle/>
          <a:p>
            <a:r>
              <a:rPr lang="en-US" sz="2900" dirty="0">
                <a:solidFill>
                  <a:srgbClr val="C00000"/>
                </a:solidFill>
              </a:rPr>
              <a:t>Target Population #1 – Top 3 Deciles (Top 30%)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439F9CD-1329-4060-8810-53E39EA726DB}"/>
              </a:ext>
            </a:extLst>
          </p:cNvPr>
          <p:cNvGrpSpPr/>
          <p:nvPr/>
        </p:nvGrpSpPr>
        <p:grpSpPr>
          <a:xfrm>
            <a:off x="403493" y="344407"/>
            <a:ext cx="509184" cy="707758"/>
            <a:chOff x="-1706746" y="1081861"/>
            <a:chExt cx="509317" cy="70794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3E874E8-4B79-414A-8D14-1F160226229D}"/>
                </a:ext>
              </a:extLst>
            </p:cNvPr>
            <p:cNvSpPr/>
            <p:nvPr/>
          </p:nvSpPr>
          <p:spPr>
            <a:xfrm>
              <a:off x="-1706746" y="1081861"/>
              <a:ext cx="476536" cy="7079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999" b="1" dirty="0">
                  <a:solidFill>
                    <a:srgbClr val="C00000"/>
                  </a:solidFill>
                  <a:latin typeface="Domaine Display Bold" panose="020A0803080505060203" pitchFamily="18" charset="0"/>
                  <a:ea typeface="Open Sans" panose="020B0606030504020204" pitchFamily="34" charset="0"/>
                  <a:cs typeface="Open Sans" panose="020B0606030504020204" pitchFamily="34" charset="0"/>
                </a:rPr>
                <a:t>5</a:t>
              </a: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568CECFF-4C21-43B1-AE6B-2AF23C736F0B}"/>
                </a:ext>
              </a:extLst>
            </p:cNvPr>
            <p:cNvCxnSpPr/>
            <p:nvPr/>
          </p:nvCxnSpPr>
          <p:spPr>
            <a:xfrm>
              <a:off x="-1197429" y="1217529"/>
              <a:ext cx="0" cy="4262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AutoShape 5">
            <a:extLst>
              <a:ext uri="{FF2B5EF4-FFF2-40B4-BE49-F238E27FC236}">
                <a16:creationId xmlns:a16="http://schemas.microsoft.com/office/drawing/2014/main" id="{72C35864-06C8-426C-9A33-E909F5106398}"/>
              </a:ext>
            </a:extLst>
          </p:cNvPr>
          <p:cNvSpPr>
            <a:spLocks noChangeArrowheads="1"/>
          </p:cNvSpPr>
          <p:nvPr/>
        </p:nvSpPr>
        <p:spPr bwMode="gray">
          <a:xfrm>
            <a:off x="491847" y="1112237"/>
            <a:ext cx="6627494" cy="381000"/>
          </a:xfrm>
          <a:prstGeom prst="homePlate">
            <a:avLst>
              <a:gd name="adj" fmla="val 21760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indent="-180000" algn="ctr">
              <a:lnSpc>
                <a:spcPct val="95000"/>
              </a:lnSpc>
              <a:spcAft>
                <a:spcPts val="800"/>
              </a:spcAft>
            </a:pPr>
            <a:r>
              <a:rPr lang="en-US" altLang="de-DE" sz="1400" b="1" noProof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l Identified Veterans(N=475,000)</a:t>
            </a:r>
          </a:p>
        </p:txBody>
      </p:sp>
      <p:grpSp>
        <p:nvGrpSpPr>
          <p:cNvPr id="12" name="Gruppieren 69">
            <a:extLst>
              <a:ext uri="{FF2B5EF4-FFF2-40B4-BE49-F238E27FC236}">
                <a16:creationId xmlns:a16="http://schemas.microsoft.com/office/drawing/2014/main" id="{76D45819-F5F8-41C8-8D77-1BBAEEBA805B}"/>
              </a:ext>
            </a:extLst>
          </p:cNvPr>
          <p:cNvGrpSpPr/>
          <p:nvPr/>
        </p:nvGrpSpPr>
        <p:grpSpPr>
          <a:xfrm>
            <a:off x="384471" y="1615718"/>
            <a:ext cx="3398489" cy="2047876"/>
            <a:chOff x="4648992" y="1554954"/>
            <a:chExt cx="4174333" cy="2047876"/>
          </a:xfrm>
        </p:grpSpPr>
        <p:grpSp>
          <p:nvGrpSpPr>
            <p:cNvPr id="15" name="Gruppieren 45">
              <a:extLst>
                <a:ext uri="{FF2B5EF4-FFF2-40B4-BE49-F238E27FC236}">
                  <a16:creationId xmlns:a16="http://schemas.microsoft.com/office/drawing/2014/main" id="{94A148A8-40C6-4884-90B8-8B35F7C37BD7}"/>
                </a:ext>
              </a:extLst>
            </p:cNvPr>
            <p:cNvGrpSpPr/>
            <p:nvPr/>
          </p:nvGrpSpPr>
          <p:grpSpPr>
            <a:xfrm>
              <a:off x="4648993" y="1554954"/>
              <a:ext cx="4171950" cy="2047876"/>
              <a:chOff x="4648993" y="1554954"/>
              <a:chExt cx="4171950" cy="2047876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8" name="Rectangle 22">
                <a:extLst>
                  <a:ext uri="{FF2B5EF4-FFF2-40B4-BE49-F238E27FC236}">
                    <a16:creationId xmlns:a16="http://schemas.microsoft.com/office/drawing/2014/main" id="{6EF45439-04BC-4241-96CA-07DDE7D6E9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48993" y="1915316"/>
                <a:ext cx="4171950" cy="1687514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marL="190500" indent="-190500" algn="ctr" defTabSz="9144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b="1" kern="0" noProof="1">
                  <a:solidFill>
                    <a:sysClr val="window" lastClr="FFFFFF">
                      <a:lumMod val="50000"/>
                    </a:sys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cs typeface="Arial" charset="0"/>
                </a:endParaRPr>
              </a:p>
            </p:txBody>
          </p:sp>
          <p:sp>
            <p:nvSpPr>
              <p:cNvPr id="29" name="Rectangle 19">
                <a:extLst>
                  <a:ext uri="{FF2B5EF4-FFF2-40B4-BE49-F238E27FC236}">
                    <a16:creationId xmlns:a16="http://schemas.microsoft.com/office/drawing/2014/main" id="{93299B55-29B0-4D31-8EF8-D9D1E8E8012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648993" y="1554954"/>
                <a:ext cx="4171950" cy="360362"/>
              </a:xfrm>
              <a:prstGeom prst="rect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28800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1600" b="1" kern="0" noProof="1">
                    <a:solidFill>
                      <a:srgbClr val="000000"/>
                    </a:solidFill>
                    <a:cs typeface="Arial" charset="0"/>
                  </a:rPr>
                  <a:t>Top 5 States</a:t>
                </a:r>
              </a:p>
            </p:txBody>
          </p:sp>
        </p:grpSp>
        <p:grpSp>
          <p:nvGrpSpPr>
            <p:cNvPr id="16" name="Gruppieren 82">
              <a:extLst>
                <a:ext uri="{FF2B5EF4-FFF2-40B4-BE49-F238E27FC236}">
                  <a16:creationId xmlns:a16="http://schemas.microsoft.com/office/drawing/2014/main" id="{A276E9DA-1E06-42ED-B0E1-0A40C10A3B21}"/>
                </a:ext>
              </a:extLst>
            </p:cNvPr>
            <p:cNvGrpSpPr/>
            <p:nvPr/>
          </p:nvGrpSpPr>
          <p:grpSpPr bwMode="gray">
            <a:xfrm>
              <a:off x="4651375" y="2940645"/>
              <a:ext cx="4171950" cy="482687"/>
              <a:chOff x="0" y="4236720"/>
              <a:chExt cx="9144000" cy="2404428"/>
            </a:xfrm>
          </p:grpSpPr>
          <p:sp>
            <p:nvSpPr>
              <p:cNvPr id="26" name="Rechteck 33">
                <a:extLst>
                  <a:ext uri="{FF2B5EF4-FFF2-40B4-BE49-F238E27FC236}">
                    <a16:creationId xmlns:a16="http://schemas.microsoft.com/office/drawing/2014/main" id="{95729345-F326-4340-820D-51AD448169D4}"/>
                  </a:ext>
                </a:extLst>
              </p:cNvPr>
              <p:cNvSpPr/>
              <p:nvPr/>
            </p:nvSpPr>
            <p:spPr bwMode="gray">
              <a:xfrm>
                <a:off x="0" y="4389120"/>
                <a:ext cx="9144000" cy="2252028"/>
              </a:xfrm>
              <a:prstGeom prst="rect">
                <a:avLst/>
              </a:prstGeom>
              <a:gradFill flip="none" rotWithShape="1">
                <a:gsLst>
                  <a:gs pos="98000">
                    <a:srgbClr val="FFFFFF">
                      <a:alpha val="0"/>
                    </a:srgbClr>
                  </a:gs>
                  <a:gs pos="0">
                    <a:sysClr val="windowText" lastClr="000000">
                      <a:alpha val="26000"/>
                    </a:sysClr>
                  </a:gs>
                </a:gsLst>
                <a:lin ang="54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400">
                  <a:defRPr/>
                </a:pPr>
                <a:endParaRPr lang="en-US" kern="0" noProof="1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7" name="Rechteck 34">
                <a:extLst>
                  <a:ext uri="{FF2B5EF4-FFF2-40B4-BE49-F238E27FC236}">
                    <a16:creationId xmlns:a16="http://schemas.microsoft.com/office/drawing/2014/main" id="{2C028575-D329-4751-8497-4D9B3BEF51F0}"/>
                  </a:ext>
                </a:extLst>
              </p:cNvPr>
              <p:cNvSpPr/>
              <p:nvPr/>
            </p:nvSpPr>
            <p:spPr bwMode="gray">
              <a:xfrm flipV="1">
                <a:off x="0" y="4236720"/>
                <a:ext cx="9144000" cy="152400"/>
              </a:xfrm>
              <a:prstGeom prst="rect">
                <a:avLst/>
              </a:prstGeom>
              <a:gradFill flip="none" rotWithShape="1">
                <a:gsLst>
                  <a:gs pos="98000">
                    <a:srgbClr val="FFFFFF">
                      <a:alpha val="0"/>
                    </a:srgbClr>
                  </a:gs>
                  <a:gs pos="0">
                    <a:sysClr val="windowText" lastClr="000000">
                      <a:alpha val="26000"/>
                    </a:sysClr>
                  </a:gs>
                </a:gsLst>
                <a:lin ang="54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400">
                  <a:defRPr/>
                </a:pPr>
                <a:endParaRPr lang="en-US" kern="0" noProof="1">
                  <a:solidFill>
                    <a:sysClr val="windowText" lastClr="000000"/>
                  </a:solidFill>
                </a:endParaRPr>
              </a:p>
            </p:txBody>
          </p:sp>
        </p:grpSp>
        <p:graphicFrame>
          <p:nvGraphicFramePr>
            <p:cNvPr id="17" name="Object 162">
              <a:extLst>
                <a:ext uri="{FF2B5EF4-FFF2-40B4-BE49-F238E27FC236}">
                  <a16:creationId xmlns:a16="http://schemas.microsoft.com/office/drawing/2014/main" id="{23B033D3-FD81-474C-B302-11D2B18E7D85}"/>
                </a:ext>
              </a:extLst>
            </p:cNvPr>
            <p:cNvGraphicFramePr>
              <a:graphicFrameLocks noChangeAspect="1"/>
            </p:cNvGraphicFramePr>
            <p:nvPr>
              <p:custDataLst>
                <p:tags r:id="rId4"/>
              </p:custDataLst>
              <p:extLst>
                <p:ext uri="{D42A27DB-BD31-4B8C-83A1-F6EECF244321}">
                  <p14:modId xmlns:p14="http://schemas.microsoft.com/office/powerpoint/2010/main" val="1677971393"/>
                </p:ext>
              </p:extLst>
            </p:nvPr>
          </p:nvGraphicFramePr>
          <p:xfrm>
            <a:off x="4648992" y="1916114"/>
            <a:ext cx="4129883" cy="168671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</p:grpSp>
      <p:grpSp>
        <p:nvGrpSpPr>
          <p:cNvPr id="30" name="Gruppieren 77">
            <a:extLst>
              <a:ext uri="{FF2B5EF4-FFF2-40B4-BE49-F238E27FC236}">
                <a16:creationId xmlns:a16="http://schemas.microsoft.com/office/drawing/2014/main" id="{DECDF4C7-6F72-4987-A853-8EBD76CD62CE}"/>
              </a:ext>
            </a:extLst>
          </p:cNvPr>
          <p:cNvGrpSpPr/>
          <p:nvPr/>
        </p:nvGrpSpPr>
        <p:grpSpPr>
          <a:xfrm>
            <a:off x="3870075" y="1615718"/>
            <a:ext cx="3365920" cy="2047875"/>
            <a:chOff x="323850" y="1554955"/>
            <a:chExt cx="4176000" cy="2047875"/>
          </a:xfrm>
        </p:grpSpPr>
        <p:grpSp>
          <p:nvGrpSpPr>
            <p:cNvPr id="31" name="Gruppieren 22">
              <a:extLst>
                <a:ext uri="{FF2B5EF4-FFF2-40B4-BE49-F238E27FC236}">
                  <a16:creationId xmlns:a16="http://schemas.microsoft.com/office/drawing/2014/main" id="{E11DD6E9-DD86-4681-96E2-EAAA22B29F32}"/>
                </a:ext>
              </a:extLst>
            </p:cNvPr>
            <p:cNvGrpSpPr/>
            <p:nvPr/>
          </p:nvGrpSpPr>
          <p:grpSpPr>
            <a:xfrm>
              <a:off x="323850" y="1554955"/>
              <a:ext cx="4176000" cy="2047875"/>
              <a:chOff x="323850" y="1554955"/>
              <a:chExt cx="4176000" cy="2047875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3" name="Rectangle 2">
                <a:extLst>
                  <a:ext uri="{FF2B5EF4-FFF2-40B4-BE49-F238E27FC236}">
                    <a16:creationId xmlns:a16="http://schemas.microsoft.com/office/drawing/2014/main" id="{74658DF2-F5C9-4932-B977-A075E5D0F5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3850" y="1915249"/>
                <a:ext cx="4175125" cy="168758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marL="190500" indent="-190500" algn="ctr" defTabSz="9144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b="1" kern="0" noProof="1">
                  <a:solidFill>
                    <a:sysClr val="window" lastClr="FFFFFF">
                      <a:lumMod val="50000"/>
                    </a:sys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cs typeface="Arial" charset="0"/>
                </a:endParaRP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4A0071A9-FE66-47D0-83A5-C47D71B91DA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23850" y="1554955"/>
                <a:ext cx="4176000" cy="360295"/>
              </a:xfrm>
              <a:prstGeom prst="rect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28800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1600" b="1" kern="0" noProof="1">
                    <a:solidFill>
                      <a:srgbClr val="000000"/>
                    </a:solidFill>
                    <a:cs typeface="Arial" charset="0"/>
                  </a:rPr>
                  <a:t>Gender</a:t>
                </a:r>
              </a:p>
            </p:txBody>
          </p:sp>
        </p:grpSp>
        <p:grpSp>
          <p:nvGrpSpPr>
            <p:cNvPr id="32" name="Gruppieren 82">
              <a:extLst>
                <a:ext uri="{FF2B5EF4-FFF2-40B4-BE49-F238E27FC236}">
                  <a16:creationId xmlns:a16="http://schemas.microsoft.com/office/drawing/2014/main" id="{BB2C443E-F2DA-4FEF-B3E1-641C7E9B90AF}"/>
                </a:ext>
              </a:extLst>
            </p:cNvPr>
            <p:cNvGrpSpPr/>
            <p:nvPr/>
          </p:nvGrpSpPr>
          <p:grpSpPr bwMode="gray">
            <a:xfrm>
              <a:off x="327025" y="3048595"/>
              <a:ext cx="4162747" cy="482687"/>
              <a:chOff x="0" y="4236720"/>
              <a:chExt cx="9144000" cy="2404428"/>
            </a:xfrm>
          </p:grpSpPr>
          <p:sp>
            <p:nvSpPr>
              <p:cNvPr id="41" name="Rechteck 30">
                <a:extLst>
                  <a:ext uri="{FF2B5EF4-FFF2-40B4-BE49-F238E27FC236}">
                    <a16:creationId xmlns:a16="http://schemas.microsoft.com/office/drawing/2014/main" id="{DCBC51FF-6F28-4766-B198-624F6AECBF45}"/>
                  </a:ext>
                </a:extLst>
              </p:cNvPr>
              <p:cNvSpPr/>
              <p:nvPr/>
            </p:nvSpPr>
            <p:spPr bwMode="gray">
              <a:xfrm>
                <a:off x="0" y="4389120"/>
                <a:ext cx="9144000" cy="2252028"/>
              </a:xfrm>
              <a:prstGeom prst="rect">
                <a:avLst/>
              </a:prstGeom>
              <a:gradFill flip="none" rotWithShape="1">
                <a:gsLst>
                  <a:gs pos="98000">
                    <a:srgbClr val="FFFFFF">
                      <a:alpha val="0"/>
                    </a:srgbClr>
                  </a:gs>
                  <a:gs pos="0">
                    <a:sysClr val="windowText" lastClr="000000">
                      <a:alpha val="26000"/>
                    </a:sysClr>
                  </a:gs>
                </a:gsLst>
                <a:lin ang="54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400">
                  <a:defRPr/>
                </a:pPr>
                <a:endParaRPr lang="en-US" kern="0" noProof="1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Rechteck 31">
                <a:extLst>
                  <a:ext uri="{FF2B5EF4-FFF2-40B4-BE49-F238E27FC236}">
                    <a16:creationId xmlns:a16="http://schemas.microsoft.com/office/drawing/2014/main" id="{6A356045-7D11-4701-95BA-B0266D76F373}"/>
                  </a:ext>
                </a:extLst>
              </p:cNvPr>
              <p:cNvSpPr/>
              <p:nvPr/>
            </p:nvSpPr>
            <p:spPr bwMode="gray">
              <a:xfrm flipV="1">
                <a:off x="0" y="4236720"/>
                <a:ext cx="9144000" cy="152400"/>
              </a:xfrm>
              <a:prstGeom prst="rect">
                <a:avLst/>
              </a:prstGeom>
              <a:gradFill flip="none" rotWithShape="1">
                <a:gsLst>
                  <a:gs pos="98000">
                    <a:srgbClr val="FFFFFF">
                      <a:alpha val="0"/>
                    </a:srgbClr>
                  </a:gs>
                  <a:gs pos="0">
                    <a:sysClr val="windowText" lastClr="000000">
                      <a:alpha val="26000"/>
                    </a:sysClr>
                  </a:gs>
                </a:gsLst>
                <a:lin ang="54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400">
                  <a:defRPr/>
                </a:pPr>
                <a:endParaRPr lang="en-US" kern="0" noProof="1">
                  <a:solidFill>
                    <a:sysClr val="windowText" lastClr="000000"/>
                  </a:solidFill>
                </a:endParaRPr>
              </a:p>
            </p:txBody>
          </p:sp>
        </p:grpSp>
        <p:graphicFrame>
          <p:nvGraphicFramePr>
            <p:cNvPr id="33" name="Object 9">
              <a:extLst>
                <a:ext uri="{FF2B5EF4-FFF2-40B4-BE49-F238E27FC236}">
                  <a16:creationId xmlns:a16="http://schemas.microsoft.com/office/drawing/2014/main" id="{3A88949B-A2B4-4062-896D-66ADA9C6931F}"/>
                </a:ext>
              </a:extLst>
            </p:cNvPr>
            <p:cNvGraphicFramePr>
              <a:graphicFrameLocks noChangeAspect="1"/>
            </p:cNvGraphicFramePr>
            <p:nvPr>
              <p:custDataLst>
                <p:tags r:id="rId3"/>
              </p:custDataLst>
              <p:extLst>
                <p:ext uri="{D42A27DB-BD31-4B8C-83A1-F6EECF244321}">
                  <p14:modId xmlns:p14="http://schemas.microsoft.com/office/powerpoint/2010/main" val="2720849941"/>
                </p:ext>
              </p:extLst>
            </p:nvPr>
          </p:nvGraphicFramePr>
          <p:xfrm>
            <a:off x="323850" y="1916114"/>
            <a:ext cx="4175125" cy="168671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</p:grpSp>
      <p:grpSp>
        <p:nvGrpSpPr>
          <p:cNvPr id="45" name="Gruppieren 23">
            <a:extLst>
              <a:ext uri="{FF2B5EF4-FFF2-40B4-BE49-F238E27FC236}">
                <a16:creationId xmlns:a16="http://schemas.microsoft.com/office/drawing/2014/main" id="{BFE6A4BF-AFEC-4B9B-AACE-61B369B14829}"/>
              </a:ext>
            </a:extLst>
          </p:cNvPr>
          <p:cNvGrpSpPr/>
          <p:nvPr/>
        </p:nvGrpSpPr>
        <p:grpSpPr>
          <a:xfrm>
            <a:off x="375996" y="3923946"/>
            <a:ext cx="3405026" cy="2047875"/>
            <a:chOff x="4645818" y="1554955"/>
            <a:chExt cx="4175125" cy="204787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6" name="Rectangle 22">
              <a:extLst>
                <a:ext uri="{FF2B5EF4-FFF2-40B4-BE49-F238E27FC236}">
                  <a16:creationId xmlns:a16="http://schemas.microsoft.com/office/drawing/2014/main" id="{8FE6EDB5-A93D-4A62-B971-E7A9DD6323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5818" y="1915249"/>
              <a:ext cx="4175125" cy="168758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 anchorCtr="0"/>
            <a:lstStyle/>
            <a:p>
              <a:pPr marL="190500" indent="-190500" algn="ctr" defTabSz="9144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b="1" kern="0" noProof="1">
                <a:solidFill>
                  <a:sysClr val="window" lastClr="FFFFFF">
                    <a:lumMod val="50000"/>
                  </a:sysClr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cs typeface="Arial" charset="0"/>
              </a:endParaRPr>
            </a:p>
          </p:txBody>
        </p:sp>
        <p:sp>
          <p:nvSpPr>
            <p:cNvPr id="47" name="Rectangle 19">
              <a:extLst>
                <a:ext uri="{FF2B5EF4-FFF2-40B4-BE49-F238E27FC236}">
                  <a16:creationId xmlns:a16="http://schemas.microsoft.com/office/drawing/2014/main" id="{8DD2AADC-B0AB-4553-BC13-AADEEAD140A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48993" y="1554955"/>
              <a:ext cx="4171950" cy="36029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28800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1600" b="1" kern="0" noProof="1">
                  <a:solidFill>
                    <a:srgbClr val="000000"/>
                  </a:solidFill>
                  <a:cs typeface="Arial" charset="0"/>
                </a:rPr>
                <a:t>Tenure Months</a:t>
              </a:r>
            </a:p>
          </p:txBody>
        </p:sp>
      </p:grpSp>
      <p:graphicFrame>
        <p:nvGraphicFramePr>
          <p:cNvPr id="51" name="Object 76">
            <a:extLst>
              <a:ext uri="{FF2B5EF4-FFF2-40B4-BE49-F238E27FC236}">
                <a16:creationId xmlns:a16="http://schemas.microsoft.com/office/drawing/2014/main" id="{470619FB-032A-447A-BD65-DA2FAD3062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9564171"/>
              </p:ext>
            </p:extLst>
          </p:nvPr>
        </p:nvGraphicFramePr>
        <p:xfrm>
          <a:off x="403493" y="4229171"/>
          <a:ext cx="3377528" cy="1683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52" name="Gruppieren 22">
            <a:extLst>
              <a:ext uri="{FF2B5EF4-FFF2-40B4-BE49-F238E27FC236}">
                <a16:creationId xmlns:a16="http://schemas.microsoft.com/office/drawing/2014/main" id="{F71DB338-A77D-48E0-8CB9-9544B44F815B}"/>
              </a:ext>
            </a:extLst>
          </p:cNvPr>
          <p:cNvGrpSpPr/>
          <p:nvPr/>
        </p:nvGrpSpPr>
        <p:grpSpPr>
          <a:xfrm>
            <a:off x="3838274" y="3923946"/>
            <a:ext cx="3398433" cy="2047875"/>
            <a:chOff x="323850" y="1554955"/>
            <a:chExt cx="4176000" cy="204787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3" name="Rectangle 2">
              <a:extLst>
                <a:ext uri="{FF2B5EF4-FFF2-40B4-BE49-F238E27FC236}">
                  <a16:creationId xmlns:a16="http://schemas.microsoft.com/office/drawing/2014/main" id="{D7516DC7-3C77-4AFC-95BC-63D0CFEF57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850" y="1915249"/>
              <a:ext cx="4175125" cy="168758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 anchorCtr="0"/>
            <a:lstStyle/>
            <a:p>
              <a:pPr marL="190500" indent="-190500" algn="ctr" defTabSz="9144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b="1" kern="0" noProof="1">
                <a:solidFill>
                  <a:sysClr val="window" lastClr="FFFFFF">
                    <a:lumMod val="50000"/>
                  </a:sysClr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cs typeface="Arial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324E15B6-50B9-4208-A613-BEEABA0FED2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3850" y="1554955"/>
              <a:ext cx="4176000" cy="36029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28800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1600" b="1" kern="0" noProof="1">
                  <a:solidFill>
                    <a:srgbClr val="000000"/>
                  </a:solidFill>
                  <a:cs typeface="Arial" charset="0"/>
                </a:rPr>
                <a:t>Age Group</a:t>
              </a:r>
            </a:p>
          </p:txBody>
        </p:sp>
      </p:grpSp>
      <p:graphicFrame>
        <p:nvGraphicFramePr>
          <p:cNvPr id="62" name="Object 9">
            <a:extLst>
              <a:ext uri="{FF2B5EF4-FFF2-40B4-BE49-F238E27FC236}">
                <a16:creationId xmlns:a16="http://schemas.microsoft.com/office/drawing/2014/main" id="{E0714134-7C58-4371-BD97-6EDD93E22A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2559783"/>
              </p:ext>
            </p:extLst>
          </p:nvPr>
        </p:nvGraphicFramePr>
        <p:xfrm>
          <a:off x="3739434" y="4284173"/>
          <a:ext cx="3488438" cy="1652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78" name="Rectangle 96">
            <a:extLst>
              <a:ext uri="{FF2B5EF4-FFF2-40B4-BE49-F238E27FC236}">
                <a16:creationId xmlns:a16="http://schemas.microsoft.com/office/drawing/2014/main" id="{A899A2F2-7462-42C6-853E-1941C2A354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1867" y="2045651"/>
            <a:ext cx="87009" cy="104120"/>
          </a:xfrm>
          <a:prstGeom prst="rect">
            <a:avLst/>
          </a:prstGeom>
          <a:solidFill>
            <a:srgbClr val="0070C0"/>
          </a:solidFill>
          <a:ln w="9525">
            <a:solidFill>
              <a:sysClr val="window" lastClr="FFFFFF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79" name="Rectangle 4">
            <a:extLst>
              <a:ext uri="{FF2B5EF4-FFF2-40B4-BE49-F238E27FC236}">
                <a16:creationId xmlns:a16="http://schemas.microsoft.com/office/drawing/2014/main" id="{E40EA5CA-45FB-4500-8AE9-A6B9E38300B4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17568" y="2039369"/>
            <a:ext cx="721666" cy="146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>
              <a:defRPr/>
            </a:pPr>
            <a:r>
              <a:rPr lang="en-US" sz="1000" kern="0" dirty="0">
                <a:solidFill>
                  <a:sysClr val="windowText" lastClr="000000"/>
                </a:solidFill>
              </a:rPr>
              <a:t>Males</a:t>
            </a:r>
          </a:p>
        </p:txBody>
      </p:sp>
      <p:sp>
        <p:nvSpPr>
          <p:cNvPr id="80" name="Rectangle 96">
            <a:extLst>
              <a:ext uri="{FF2B5EF4-FFF2-40B4-BE49-F238E27FC236}">
                <a16:creationId xmlns:a16="http://schemas.microsoft.com/office/drawing/2014/main" id="{D7EBDDE5-C58B-4ACB-816E-E74733B4AE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3591" y="2045651"/>
            <a:ext cx="87009" cy="10412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ysClr val="window" lastClr="FFFFFF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81" name="Rectangle 4">
            <a:extLst>
              <a:ext uri="{FF2B5EF4-FFF2-40B4-BE49-F238E27FC236}">
                <a16:creationId xmlns:a16="http://schemas.microsoft.com/office/drawing/2014/main" id="{4EBB7C14-81E0-4E7F-844D-945E4A18278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62316" y="2036805"/>
            <a:ext cx="721666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>
              <a:defRPr/>
            </a:pPr>
            <a:r>
              <a:rPr lang="en-US" sz="1000" kern="0" dirty="0">
                <a:solidFill>
                  <a:sysClr val="windowText" lastClr="000000"/>
                </a:solidFill>
              </a:rPr>
              <a:t>Females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5FDB3236-7931-417C-BEB5-97E77739F01C}"/>
              </a:ext>
            </a:extLst>
          </p:cNvPr>
          <p:cNvCxnSpPr>
            <a:cxnSpLocks/>
          </p:cNvCxnSpPr>
          <p:nvPr/>
        </p:nvCxnSpPr>
        <p:spPr>
          <a:xfrm flipH="1">
            <a:off x="7360049" y="1057680"/>
            <a:ext cx="33030" cy="5211826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AutoShape 5">
            <a:extLst>
              <a:ext uri="{FF2B5EF4-FFF2-40B4-BE49-F238E27FC236}">
                <a16:creationId xmlns:a16="http://schemas.microsoft.com/office/drawing/2014/main" id="{468C14A1-360F-4A76-B0E3-D13797DDB64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34427" y="1120184"/>
            <a:ext cx="4445391" cy="381000"/>
          </a:xfrm>
          <a:prstGeom prst="homePlate">
            <a:avLst>
              <a:gd name="adj" fmla="val 21760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indent="-180000" algn="ctr">
              <a:lnSpc>
                <a:spcPct val="95000"/>
              </a:lnSpc>
              <a:spcAft>
                <a:spcPts val="800"/>
              </a:spcAft>
            </a:pPr>
            <a:r>
              <a:rPr lang="en-US" altLang="de-DE" sz="1400" b="1" noProof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p: Top 3 Decile Membership by State (VA Facilities)*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0AAA175-D4E6-44A0-9C63-27F656792098}"/>
              </a:ext>
            </a:extLst>
          </p:cNvPr>
          <p:cNvSpPr txBox="1"/>
          <p:nvPr/>
        </p:nvSpPr>
        <p:spPr>
          <a:xfrm>
            <a:off x="4329403" y="6146439"/>
            <a:ext cx="5560443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Note:</a:t>
            </a:r>
          </a:p>
          <a:p>
            <a:r>
              <a:rPr lang="en-US" sz="1000" dirty="0">
                <a:solidFill>
                  <a:schemeClr val="tx2"/>
                </a:solidFill>
              </a:rPr>
              <a:t>* Color code represent the size of the membership within the region -- darker color indicate more members.</a:t>
            </a:r>
          </a:p>
          <a:p>
            <a:r>
              <a:rPr lang="en-US" sz="1000" dirty="0">
                <a:solidFill>
                  <a:schemeClr val="tx2"/>
                </a:solidFill>
              </a:rPr>
              <a:t>* Red dots represent the locations of VA hospitals or facilities 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9C67210D-2245-4DD0-8C40-1833F38D8C46}"/>
              </a:ext>
            </a:extLst>
          </p:cNvPr>
          <p:cNvSpPr/>
          <p:nvPr/>
        </p:nvSpPr>
        <p:spPr bwMode="gray">
          <a:xfrm rot="5821656">
            <a:off x="9842296" y="2383895"/>
            <a:ext cx="758893" cy="408052"/>
          </a:xfrm>
          <a:prstGeom prst="ellipse">
            <a:avLst/>
          </a:prstGeom>
          <a:noFill/>
          <a:ln w="28575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C2949821-16C7-44B3-BAD3-C9FDDBF66EF1}"/>
              </a:ext>
            </a:extLst>
          </p:cNvPr>
          <p:cNvSpPr/>
          <p:nvPr/>
        </p:nvSpPr>
        <p:spPr bwMode="gray">
          <a:xfrm rot="9995991">
            <a:off x="10535720" y="2304604"/>
            <a:ext cx="1006568" cy="488152"/>
          </a:xfrm>
          <a:prstGeom prst="ellipse">
            <a:avLst/>
          </a:prstGeom>
          <a:noFill/>
          <a:ln w="28575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7E40CB96-62E1-48F2-A948-D27D527E5239}"/>
              </a:ext>
            </a:extLst>
          </p:cNvPr>
          <p:cNvSpPr/>
          <p:nvPr/>
        </p:nvSpPr>
        <p:spPr bwMode="gray">
          <a:xfrm rot="10462495">
            <a:off x="10436563" y="2976584"/>
            <a:ext cx="952024" cy="308700"/>
          </a:xfrm>
          <a:prstGeom prst="ellipse">
            <a:avLst/>
          </a:prstGeom>
          <a:noFill/>
          <a:ln w="28575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91BE2F1-3B0D-46F8-A47B-B3ADB3C38D19}"/>
              </a:ext>
            </a:extLst>
          </p:cNvPr>
          <p:cNvSpPr txBox="1"/>
          <p:nvPr/>
        </p:nvSpPr>
        <p:spPr>
          <a:xfrm>
            <a:off x="7516421" y="4145154"/>
            <a:ext cx="4445391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Members in the top 3 deciles resided in the northeast region, Illinois and North Carolina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/>
              </a:solidFill>
              <a:latin typeface="Open Sans" charset="0"/>
              <a:ea typeface="Open Sans" charset="0"/>
              <a:cs typeface="Open Sans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In those regions, there are numbers of VA hospitals, and it is more likely that veterans use VA facilities than private docto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/>
              </a:solidFill>
              <a:latin typeface="Open Sans" charset="0"/>
              <a:ea typeface="Open Sans" charset="0"/>
              <a:cs typeface="Open Sans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However, some predicted nonveterans would be included in the top 3 deciles along with the veterans.</a:t>
            </a:r>
          </a:p>
        </p:txBody>
      </p:sp>
    </p:spTree>
    <p:extLst>
      <p:ext uri="{BB962C8B-B14F-4D97-AF65-F5344CB8AC3E}">
        <p14:creationId xmlns:p14="http://schemas.microsoft.com/office/powerpoint/2010/main" val="3262048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F6C61E7-D9AC-4B8B-94B8-206507E5933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34427" y="1563789"/>
            <a:ext cx="4445391" cy="251202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F3E86CD1-DFB9-4C2F-99E3-150EC6E5A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0012" y="388854"/>
            <a:ext cx="10334305" cy="731330"/>
          </a:xfrm>
        </p:spPr>
        <p:txBody>
          <a:bodyPr/>
          <a:lstStyle/>
          <a:p>
            <a:r>
              <a:rPr lang="en-US" sz="2900" dirty="0">
                <a:solidFill>
                  <a:srgbClr val="C00000"/>
                </a:solidFill>
              </a:rPr>
              <a:t>Target Population #2 – Predicted Veterans (22%)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439F9CD-1329-4060-8810-53E39EA726DB}"/>
              </a:ext>
            </a:extLst>
          </p:cNvPr>
          <p:cNvGrpSpPr/>
          <p:nvPr/>
        </p:nvGrpSpPr>
        <p:grpSpPr>
          <a:xfrm>
            <a:off x="403493" y="344407"/>
            <a:ext cx="509184" cy="707758"/>
            <a:chOff x="-1706746" y="1081861"/>
            <a:chExt cx="509317" cy="70794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3E874E8-4B79-414A-8D14-1F160226229D}"/>
                </a:ext>
              </a:extLst>
            </p:cNvPr>
            <p:cNvSpPr/>
            <p:nvPr/>
          </p:nvSpPr>
          <p:spPr>
            <a:xfrm>
              <a:off x="-1706746" y="1081861"/>
              <a:ext cx="502192" cy="7079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999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Domaine Display Bold" panose="020A0803080505060203" pitchFamily="18" charset="0"/>
                  <a:ea typeface="Open Sans" panose="020B0606030504020204" pitchFamily="34" charset="0"/>
                  <a:cs typeface="Open Sans" panose="020B0606030504020204" pitchFamily="34" charset="0"/>
                </a:rPr>
                <a:t>6</a:t>
              </a: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568CECFF-4C21-43B1-AE6B-2AF23C736F0B}"/>
                </a:ext>
              </a:extLst>
            </p:cNvPr>
            <p:cNvCxnSpPr/>
            <p:nvPr/>
          </p:nvCxnSpPr>
          <p:spPr>
            <a:xfrm>
              <a:off x="-1197429" y="1217529"/>
              <a:ext cx="0" cy="4262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AutoShape 5">
            <a:extLst>
              <a:ext uri="{FF2B5EF4-FFF2-40B4-BE49-F238E27FC236}">
                <a16:creationId xmlns:a16="http://schemas.microsoft.com/office/drawing/2014/main" id="{72C35864-06C8-426C-9A33-E909F5106398}"/>
              </a:ext>
            </a:extLst>
          </p:cNvPr>
          <p:cNvSpPr>
            <a:spLocks noChangeArrowheads="1"/>
          </p:cNvSpPr>
          <p:nvPr/>
        </p:nvSpPr>
        <p:spPr bwMode="gray">
          <a:xfrm>
            <a:off x="491847" y="1112237"/>
            <a:ext cx="6627494" cy="381000"/>
          </a:xfrm>
          <a:prstGeom prst="homePlate">
            <a:avLst>
              <a:gd name="adj" fmla="val 21760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indent="-180000" algn="ctr">
              <a:lnSpc>
                <a:spcPct val="95000"/>
              </a:lnSpc>
              <a:spcAft>
                <a:spcPts val="800"/>
              </a:spcAft>
            </a:pPr>
            <a:r>
              <a:rPr lang="en-US" altLang="de-DE" sz="1400" b="1" noProof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l Identified Veterans(N=373,000)</a:t>
            </a:r>
          </a:p>
        </p:txBody>
      </p:sp>
      <p:grpSp>
        <p:nvGrpSpPr>
          <p:cNvPr id="12" name="Gruppieren 69">
            <a:extLst>
              <a:ext uri="{FF2B5EF4-FFF2-40B4-BE49-F238E27FC236}">
                <a16:creationId xmlns:a16="http://schemas.microsoft.com/office/drawing/2014/main" id="{76D45819-F5F8-41C8-8D77-1BBAEEBA805B}"/>
              </a:ext>
            </a:extLst>
          </p:cNvPr>
          <p:cNvGrpSpPr/>
          <p:nvPr/>
        </p:nvGrpSpPr>
        <p:grpSpPr>
          <a:xfrm>
            <a:off x="384471" y="1615718"/>
            <a:ext cx="3398489" cy="2047876"/>
            <a:chOff x="4648992" y="1554954"/>
            <a:chExt cx="4174333" cy="2047876"/>
          </a:xfrm>
        </p:grpSpPr>
        <p:grpSp>
          <p:nvGrpSpPr>
            <p:cNvPr id="15" name="Gruppieren 45">
              <a:extLst>
                <a:ext uri="{FF2B5EF4-FFF2-40B4-BE49-F238E27FC236}">
                  <a16:creationId xmlns:a16="http://schemas.microsoft.com/office/drawing/2014/main" id="{94A148A8-40C6-4884-90B8-8B35F7C37BD7}"/>
                </a:ext>
              </a:extLst>
            </p:cNvPr>
            <p:cNvGrpSpPr/>
            <p:nvPr/>
          </p:nvGrpSpPr>
          <p:grpSpPr>
            <a:xfrm>
              <a:off x="4648993" y="1554954"/>
              <a:ext cx="4171950" cy="2047876"/>
              <a:chOff x="4648993" y="1554954"/>
              <a:chExt cx="4171950" cy="2047876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8" name="Rectangle 22">
                <a:extLst>
                  <a:ext uri="{FF2B5EF4-FFF2-40B4-BE49-F238E27FC236}">
                    <a16:creationId xmlns:a16="http://schemas.microsoft.com/office/drawing/2014/main" id="{6EF45439-04BC-4241-96CA-07DDE7D6E9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48993" y="1915316"/>
                <a:ext cx="4171950" cy="1687514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marL="190500" indent="-190500" algn="ctr" defTabSz="9144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b="1" kern="0" noProof="1">
                  <a:solidFill>
                    <a:sysClr val="window" lastClr="FFFFFF">
                      <a:lumMod val="50000"/>
                    </a:sys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cs typeface="Arial" charset="0"/>
                </a:endParaRPr>
              </a:p>
            </p:txBody>
          </p:sp>
          <p:sp>
            <p:nvSpPr>
              <p:cNvPr id="29" name="Rectangle 19">
                <a:extLst>
                  <a:ext uri="{FF2B5EF4-FFF2-40B4-BE49-F238E27FC236}">
                    <a16:creationId xmlns:a16="http://schemas.microsoft.com/office/drawing/2014/main" id="{93299B55-29B0-4D31-8EF8-D9D1E8E8012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648993" y="1554954"/>
                <a:ext cx="4171950" cy="360362"/>
              </a:xfrm>
              <a:prstGeom prst="rect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28800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1600" b="1" kern="0" noProof="1">
                    <a:solidFill>
                      <a:srgbClr val="000000"/>
                    </a:solidFill>
                    <a:cs typeface="Arial" charset="0"/>
                  </a:rPr>
                  <a:t>Top 5 States</a:t>
                </a:r>
              </a:p>
            </p:txBody>
          </p:sp>
        </p:grpSp>
        <p:grpSp>
          <p:nvGrpSpPr>
            <p:cNvPr id="16" name="Gruppieren 82">
              <a:extLst>
                <a:ext uri="{FF2B5EF4-FFF2-40B4-BE49-F238E27FC236}">
                  <a16:creationId xmlns:a16="http://schemas.microsoft.com/office/drawing/2014/main" id="{A276E9DA-1E06-42ED-B0E1-0A40C10A3B21}"/>
                </a:ext>
              </a:extLst>
            </p:cNvPr>
            <p:cNvGrpSpPr/>
            <p:nvPr/>
          </p:nvGrpSpPr>
          <p:grpSpPr bwMode="gray">
            <a:xfrm>
              <a:off x="4651375" y="2940645"/>
              <a:ext cx="4171950" cy="482687"/>
              <a:chOff x="0" y="4236720"/>
              <a:chExt cx="9144000" cy="2404428"/>
            </a:xfrm>
          </p:grpSpPr>
          <p:sp>
            <p:nvSpPr>
              <p:cNvPr id="26" name="Rechteck 33">
                <a:extLst>
                  <a:ext uri="{FF2B5EF4-FFF2-40B4-BE49-F238E27FC236}">
                    <a16:creationId xmlns:a16="http://schemas.microsoft.com/office/drawing/2014/main" id="{95729345-F326-4340-820D-51AD448169D4}"/>
                  </a:ext>
                </a:extLst>
              </p:cNvPr>
              <p:cNvSpPr/>
              <p:nvPr/>
            </p:nvSpPr>
            <p:spPr bwMode="gray">
              <a:xfrm>
                <a:off x="0" y="4389120"/>
                <a:ext cx="9144000" cy="2252028"/>
              </a:xfrm>
              <a:prstGeom prst="rect">
                <a:avLst/>
              </a:prstGeom>
              <a:gradFill flip="none" rotWithShape="1">
                <a:gsLst>
                  <a:gs pos="98000">
                    <a:srgbClr val="FFFFFF">
                      <a:alpha val="0"/>
                    </a:srgbClr>
                  </a:gs>
                  <a:gs pos="0">
                    <a:sysClr val="windowText" lastClr="000000">
                      <a:alpha val="26000"/>
                    </a:sysClr>
                  </a:gs>
                </a:gsLst>
                <a:lin ang="54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400">
                  <a:defRPr/>
                </a:pPr>
                <a:endParaRPr lang="en-US" kern="0" noProof="1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7" name="Rechteck 34">
                <a:extLst>
                  <a:ext uri="{FF2B5EF4-FFF2-40B4-BE49-F238E27FC236}">
                    <a16:creationId xmlns:a16="http://schemas.microsoft.com/office/drawing/2014/main" id="{2C028575-D329-4751-8497-4D9B3BEF51F0}"/>
                  </a:ext>
                </a:extLst>
              </p:cNvPr>
              <p:cNvSpPr/>
              <p:nvPr/>
            </p:nvSpPr>
            <p:spPr bwMode="gray">
              <a:xfrm flipV="1">
                <a:off x="0" y="4236720"/>
                <a:ext cx="9144000" cy="152400"/>
              </a:xfrm>
              <a:prstGeom prst="rect">
                <a:avLst/>
              </a:prstGeom>
              <a:gradFill flip="none" rotWithShape="1">
                <a:gsLst>
                  <a:gs pos="98000">
                    <a:srgbClr val="FFFFFF">
                      <a:alpha val="0"/>
                    </a:srgbClr>
                  </a:gs>
                  <a:gs pos="0">
                    <a:sysClr val="windowText" lastClr="000000">
                      <a:alpha val="26000"/>
                    </a:sysClr>
                  </a:gs>
                </a:gsLst>
                <a:lin ang="54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400">
                  <a:defRPr/>
                </a:pPr>
                <a:endParaRPr lang="en-US" kern="0" noProof="1">
                  <a:solidFill>
                    <a:sysClr val="windowText" lastClr="000000"/>
                  </a:solidFill>
                </a:endParaRPr>
              </a:p>
            </p:txBody>
          </p:sp>
        </p:grpSp>
        <p:graphicFrame>
          <p:nvGraphicFramePr>
            <p:cNvPr id="17" name="Object 162">
              <a:extLst>
                <a:ext uri="{FF2B5EF4-FFF2-40B4-BE49-F238E27FC236}">
                  <a16:creationId xmlns:a16="http://schemas.microsoft.com/office/drawing/2014/main" id="{23B033D3-FD81-474C-B302-11D2B18E7D85}"/>
                </a:ext>
              </a:extLst>
            </p:cNvPr>
            <p:cNvGraphicFramePr>
              <a:graphicFrameLocks noChangeAspect="1"/>
            </p:cNvGraphicFramePr>
            <p:nvPr>
              <p:custDataLst>
                <p:tags r:id="rId4"/>
              </p:custDataLst>
              <p:extLst>
                <p:ext uri="{D42A27DB-BD31-4B8C-83A1-F6EECF244321}">
                  <p14:modId xmlns:p14="http://schemas.microsoft.com/office/powerpoint/2010/main" val="4141631530"/>
                </p:ext>
              </p:extLst>
            </p:nvPr>
          </p:nvGraphicFramePr>
          <p:xfrm>
            <a:off x="4648992" y="1916114"/>
            <a:ext cx="4129883" cy="168671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</p:grpSp>
      <p:grpSp>
        <p:nvGrpSpPr>
          <p:cNvPr id="30" name="Gruppieren 77">
            <a:extLst>
              <a:ext uri="{FF2B5EF4-FFF2-40B4-BE49-F238E27FC236}">
                <a16:creationId xmlns:a16="http://schemas.microsoft.com/office/drawing/2014/main" id="{DECDF4C7-6F72-4987-A853-8EBD76CD62CE}"/>
              </a:ext>
            </a:extLst>
          </p:cNvPr>
          <p:cNvGrpSpPr/>
          <p:nvPr/>
        </p:nvGrpSpPr>
        <p:grpSpPr>
          <a:xfrm>
            <a:off x="3870075" y="1615718"/>
            <a:ext cx="3365920" cy="2047875"/>
            <a:chOff x="323850" y="1554955"/>
            <a:chExt cx="4176000" cy="2047875"/>
          </a:xfrm>
        </p:grpSpPr>
        <p:grpSp>
          <p:nvGrpSpPr>
            <p:cNvPr id="31" name="Gruppieren 22">
              <a:extLst>
                <a:ext uri="{FF2B5EF4-FFF2-40B4-BE49-F238E27FC236}">
                  <a16:creationId xmlns:a16="http://schemas.microsoft.com/office/drawing/2014/main" id="{E11DD6E9-DD86-4681-96E2-EAAA22B29F32}"/>
                </a:ext>
              </a:extLst>
            </p:cNvPr>
            <p:cNvGrpSpPr/>
            <p:nvPr/>
          </p:nvGrpSpPr>
          <p:grpSpPr>
            <a:xfrm>
              <a:off x="323850" y="1554955"/>
              <a:ext cx="4176000" cy="2047875"/>
              <a:chOff x="323850" y="1554955"/>
              <a:chExt cx="4176000" cy="2047875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3" name="Rectangle 2">
                <a:extLst>
                  <a:ext uri="{FF2B5EF4-FFF2-40B4-BE49-F238E27FC236}">
                    <a16:creationId xmlns:a16="http://schemas.microsoft.com/office/drawing/2014/main" id="{74658DF2-F5C9-4932-B977-A075E5D0F5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3850" y="1915249"/>
                <a:ext cx="4175125" cy="168758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marL="190500" indent="-190500" algn="ctr" defTabSz="9144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b="1" kern="0" noProof="1">
                  <a:solidFill>
                    <a:sysClr val="window" lastClr="FFFFFF">
                      <a:lumMod val="50000"/>
                    </a:sys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cs typeface="Arial" charset="0"/>
                </a:endParaRP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4A0071A9-FE66-47D0-83A5-C47D71B91DA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23850" y="1554955"/>
                <a:ext cx="4176000" cy="360295"/>
              </a:xfrm>
              <a:prstGeom prst="rect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28800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1600" b="1" kern="0" noProof="1">
                    <a:solidFill>
                      <a:srgbClr val="000000"/>
                    </a:solidFill>
                    <a:cs typeface="Arial" charset="0"/>
                  </a:rPr>
                  <a:t>Gender</a:t>
                </a:r>
              </a:p>
            </p:txBody>
          </p:sp>
        </p:grpSp>
        <p:grpSp>
          <p:nvGrpSpPr>
            <p:cNvPr id="32" name="Gruppieren 82">
              <a:extLst>
                <a:ext uri="{FF2B5EF4-FFF2-40B4-BE49-F238E27FC236}">
                  <a16:creationId xmlns:a16="http://schemas.microsoft.com/office/drawing/2014/main" id="{BB2C443E-F2DA-4FEF-B3E1-641C7E9B90AF}"/>
                </a:ext>
              </a:extLst>
            </p:cNvPr>
            <p:cNvGrpSpPr/>
            <p:nvPr/>
          </p:nvGrpSpPr>
          <p:grpSpPr bwMode="gray">
            <a:xfrm>
              <a:off x="327025" y="3048595"/>
              <a:ext cx="4162747" cy="482687"/>
              <a:chOff x="0" y="4236720"/>
              <a:chExt cx="9144000" cy="2404428"/>
            </a:xfrm>
          </p:grpSpPr>
          <p:sp>
            <p:nvSpPr>
              <p:cNvPr id="41" name="Rechteck 30">
                <a:extLst>
                  <a:ext uri="{FF2B5EF4-FFF2-40B4-BE49-F238E27FC236}">
                    <a16:creationId xmlns:a16="http://schemas.microsoft.com/office/drawing/2014/main" id="{DCBC51FF-6F28-4766-B198-624F6AECBF45}"/>
                  </a:ext>
                </a:extLst>
              </p:cNvPr>
              <p:cNvSpPr/>
              <p:nvPr/>
            </p:nvSpPr>
            <p:spPr bwMode="gray">
              <a:xfrm>
                <a:off x="0" y="4389120"/>
                <a:ext cx="9144000" cy="2252028"/>
              </a:xfrm>
              <a:prstGeom prst="rect">
                <a:avLst/>
              </a:prstGeom>
              <a:gradFill flip="none" rotWithShape="1">
                <a:gsLst>
                  <a:gs pos="98000">
                    <a:srgbClr val="FFFFFF">
                      <a:alpha val="0"/>
                    </a:srgbClr>
                  </a:gs>
                  <a:gs pos="0">
                    <a:sysClr val="windowText" lastClr="000000">
                      <a:alpha val="26000"/>
                    </a:sysClr>
                  </a:gs>
                </a:gsLst>
                <a:lin ang="54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400">
                  <a:defRPr/>
                </a:pPr>
                <a:endParaRPr lang="en-US" kern="0" noProof="1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Rechteck 31">
                <a:extLst>
                  <a:ext uri="{FF2B5EF4-FFF2-40B4-BE49-F238E27FC236}">
                    <a16:creationId xmlns:a16="http://schemas.microsoft.com/office/drawing/2014/main" id="{6A356045-7D11-4701-95BA-B0266D76F373}"/>
                  </a:ext>
                </a:extLst>
              </p:cNvPr>
              <p:cNvSpPr/>
              <p:nvPr/>
            </p:nvSpPr>
            <p:spPr bwMode="gray">
              <a:xfrm flipV="1">
                <a:off x="0" y="4236720"/>
                <a:ext cx="9144000" cy="152400"/>
              </a:xfrm>
              <a:prstGeom prst="rect">
                <a:avLst/>
              </a:prstGeom>
              <a:gradFill flip="none" rotWithShape="1">
                <a:gsLst>
                  <a:gs pos="98000">
                    <a:srgbClr val="FFFFFF">
                      <a:alpha val="0"/>
                    </a:srgbClr>
                  </a:gs>
                  <a:gs pos="0">
                    <a:sysClr val="windowText" lastClr="000000">
                      <a:alpha val="26000"/>
                    </a:sysClr>
                  </a:gs>
                </a:gsLst>
                <a:lin ang="54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400">
                  <a:defRPr/>
                </a:pPr>
                <a:endParaRPr lang="en-US" kern="0" noProof="1">
                  <a:solidFill>
                    <a:sysClr val="windowText" lastClr="000000"/>
                  </a:solidFill>
                </a:endParaRPr>
              </a:p>
            </p:txBody>
          </p:sp>
        </p:grpSp>
        <p:graphicFrame>
          <p:nvGraphicFramePr>
            <p:cNvPr id="33" name="Object 9">
              <a:extLst>
                <a:ext uri="{FF2B5EF4-FFF2-40B4-BE49-F238E27FC236}">
                  <a16:creationId xmlns:a16="http://schemas.microsoft.com/office/drawing/2014/main" id="{3A88949B-A2B4-4062-896D-66ADA9C6931F}"/>
                </a:ext>
              </a:extLst>
            </p:cNvPr>
            <p:cNvGraphicFramePr>
              <a:graphicFrameLocks noChangeAspect="1"/>
            </p:cNvGraphicFramePr>
            <p:nvPr>
              <p:custDataLst>
                <p:tags r:id="rId3"/>
              </p:custDataLst>
              <p:extLst>
                <p:ext uri="{D42A27DB-BD31-4B8C-83A1-F6EECF244321}">
                  <p14:modId xmlns:p14="http://schemas.microsoft.com/office/powerpoint/2010/main" val="1747930235"/>
                </p:ext>
              </p:extLst>
            </p:nvPr>
          </p:nvGraphicFramePr>
          <p:xfrm>
            <a:off x="323850" y="1916114"/>
            <a:ext cx="4175125" cy="168671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</p:grpSp>
      <p:grpSp>
        <p:nvGrpSpPr>
          <p:cNvPr id="45" name="Gruppieren 23">
            <a:extLst>
              <a:ext uri="{FF2B5EF4-FFF2-40B4-BE49-F238E27FC236}">
                <a16:creationId xmlns:a16="http://schemas.microsoft.com/office/drawing/2014/main" id="{BFE6A4BF-AFEC-4B9B-AACE-61B369B14829}"/>
              </a:ext>
            </a:extLst>
          </p:cNvPr>
          <p:cNvGrpSpPr/>
          <p:nvPr/>
        </p:nvGrpSpPr>
        <p:grpSpPr>
          <a:xfrm>
            <a:off x="375996" y="3923946"/>
            <a:ext cx="3405026" cy="2047875"/>
            <a:chOff x="4645818" y="1554955"/>
            <a:chExt cx="4175125" cy="204787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6" name="Rectangle 22">
              <a:extLst>
                <a:ext uri="{FF2B5EF4-FFF2-40B4-BE49-F238E27FC236}">
                  <a16:creationId xmlns:a16="http://schemas.microsoft.com/office/drawing/2014/main" id="{8FE6EDB5-A93D-4A62-B971-E7A9DD6323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5818" y="1915249"/>
              <a:ext cx="4175125" cy="168758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 anchorCtr="0"/>
            <a:lstStyle/>
            <a:p>
              <a:pPr marL="190500" indent="-190500" algn="ctr" defTabSz="9144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b="1" kern="0" noProof="1">
                <a:solidFill>
                  <a:sysClr val="window" lastClr="FFFFFF">
                    <a:lumMod val="50000"/>
                  </a:sysClr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cs typeface="Arial" charset="0"/>
              </a:endParaRPr>
            </a:p>
          </p:txBody>
        </p:sp>
        <p:sp>
          <p:nvSpPr>
            <p:cNvPr id="47" name="Rectangle 19">
              <a:extLst>
                <a:ext uri="{FF2B5EF4-FFF2-40B4-BE49-F238E27FC236}">
                  <a16:creationId xmlns:a16="http://schemas.microsoft.com/office/drawing/2014/main" id="{8DD2AADC-B0AB-4553-BC13-AADEEAD140A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48993" y="1554955"/>
              <a:ext cx="4171950" cy="36029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28800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1600" b="1" kern="0" noProof="1">
                  <a:solidFill>
                    <a:srgbClr val="000000"/>
                  </a:solidFill>
                  <a:cs typeface="Arial" charset="0"/>
                </a:rPr>
                <a:t>Tenure Months</a:t>
              </a:r>
            </a:p>
          </p:txBody>
        </p:sp>
      </p:grpSp>
      <p:graphicFrame>
        <p:nvGraphicFramePr>
          <p:cNvPr id="51" name="Object 76">
            <a:extLst>
              <a:ext uri="{FF2B5EF4-FFF2-40B4-BE49-F238E27FC236}">
                <a16:creationId xmlns:a16="http://schemas.microsoft.com/office/drawing/2014/main" id="{470619FB-032A-447A-BD65-DA2FAD3062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7840738"/>
              </p:ext>
            </p:extLst>
          </p:nvPr>
        </p:nvGraphicFramePr>
        <p:xfrm>
          <a:off x="403493" y="4229171"/>
          <a:ext cx="3377528" cy="1683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52" name="Gruppieren 22">
            <a:extLst>
              <a:ext uri="{FF2B5EF4-FFF2-40B4-BE49-F238E27FC236}">
                <a16:creationId xmlns:a16="http://schemas.microsoft.com/office/drawing/2014/main" id="{F71DB338-A77D-48E0-8CB9-9544B44F815B}"/>
              </a:ext>
            </a:extLst>
          </p:cNvPr>
          <p:cNvGrpSpPr/>
          <p:nvPr/>
        </p:nvGrpSpPr>
        <p:grpSpPr>
          <a:xfrm>
            <a:off x="3838274" y="3923946"/>
            <a:ext cx="3398433" cy="2047875"/>
            <a:chOff x="323850" y="1554955"/>
            <a:chExt cx="4176000" cy="204787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3" name="Rectangle 2">
              <a:extLst>
                <a:ext uri="{FF2B5EF4-FFF2-40B4-BE49-F238E27FC236}">
                  <a16:creationId xmlns:a16="http://schemas.microsoft.com/office/drawing/2014/main" id="{D7516DC7-3C77-4AFC-95BC-63D0CFEF57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850" y="1915249"/>
              <a:ext cx="4175125" cy="168758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 anchorCtr="0"/>
            <a:lstStyle/>
            <a:p>
              <a:pPr marL="190500" indent="-190500" algn="ctr" defTabSz="9144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b="1" kern="0" noProof="1">
                <a:solidFill>
                  <a:sysClr val="window" lastClr="FFFFFF">
                    <a:lumMod val="50000"/>
                  </a:sysClr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cs typeface="Arial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324E15B6-50B9-4208-A613-BEEABA0FED2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3850" y="1554955"/>
              <a:ext cx="4176000" cy="36029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28800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1600" b="1" kern="0" noProof="1">
                  <a:solidFill>
                    <a:srgbClr val="000000"/>
                  </a:solidFill>
                  <a:cs typeface="Arial" charset="0"/>
                </a:rPr>
                <a:t>Age Group</a:t>
              </a:r>
            </a:p>
          </p:txBody>
        </p:sp>
      </p:grpSp>
      <p:graphicFrame>
        <p:nvGraphicFramePr>
          <p:cNvPr id="62" name="Object 9">
            <a:extLst>
              <a:ext uri="{FF2B5EF4-FFF2-40B4-BE49-F238E27FC236}">
                <a16:creationId xmlns:a16="http://schemas.microsoft.com/office/drawing/2014/main" id="{E0714134-7C58-4371-BD97-6EDD93E22A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461202"/>
              </p:ext>
            </p:extLst>
          </p:nvPr>
        </p:nvGraphicFramePr>
        <p:xfrm>
          <a:off x="3739434" y="4284173"/>
          <a:ext cx="3488438" cy="1652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78" name="Rectangle 96">
            <a:extLst>
              <a:ext uri="{FF2B5EF4-FFF2-40B4-BE49-F238E27FC236}">
                <a16:creationId xmlns:a16="http://schemas.microsoft.com/office/drawing/2014/main" id="{A899A2F2-7462-42C6-853E-1941C2A354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1867" y="2045651"/>
            <a:ext cx="87009" cy="104120"/>
          </a:xfrm>
          <a:prstGeom prst="rect">
            <a:avLst/>
          </a:prstGeom>
          <a:solidFill>
            <a:srgbClr val="0070C0"/>
          </a:solidFill>
          <a:ln w="9525">
            <a:solidFill>
              <a:sysClr val="window" lastClr="FFFFFF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79" name="Rectangle 4">
            <a:extLst>
              <a:ext uri="{FF2B5EF4-FFF2-40B4-BE49-F238E27FC236}">
                <a16:creationId xmlns:a16="http://schemas.microsoft.com/office/drawing/2014/main" id="{E40EA5CA-45FB-4500-8AE9-A6B9E38300B4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17568" y="2039369"/>
            <a:ext cx="721666" cy="146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>
              <a:defRPr/>
            </a:pPr>
            <a:r>
              <a:rPr lang="en-US" sz="1000" kern="0" dirty="0">
                <a:solidFill>
                  <a:sysClr val="windowText" lastClr="000000"/>
                </a:solidFill>
              </a:rPr>
              <a:t>Males</a:t>
            </a:r>
          </a:p>
        </p:txBody>
      </p:sp>
      <p:sp>
        <p:nvSpPr>
          <p:cNvPr id="80" name="Rectangle 96">
            <a:extLst>
              <a:ext uri="{FF2B5EF4-FFF2-40B4-BE49-F238E27FC236}">
                <a16:creationId xmlns:a16="http://schemas.microsoft.com/office/drawing/2014/main" id="{D7EBDDE5-C58B-4ACB-816E-E74733B4AE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3591" y="2045651"/>
            <a:ext cx="87009" cy="10412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ysClr val="window" lastClr="FFFFFF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81" name="Rectangle 4">
            <a:extLst>
              <a:ext uri="{FF2B5EF4-FFF2-40B4-BE49-F238E27FC236}">
                <a16:creationId xmlns:a16="http://schemas.microsoft.com/office/drawing/2014/main" id="{4EBB7C14-81E0-4E7F-844D-945E4A18278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62316" y="2036805"/>
            <a:ext cx="721666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>
              <a:defRPr/>
            </a:pPr>
            <a:r>
              <a:rPr lang="en-US" sz="1000" kern="0" dirty="0">
                <a:solidFill>
                  <a:sysClr val="windowText" lastClr="000000"/>
                </a:solidFill>
              </a:rPr>
              <a:t>Females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5FDB3236-7931-417C-BEB5-97E77739F01C}"/>
              </a:ext>
            </a:extLst>
          </p:cNvPr>
          <p:cNvCxnSpPr>
            <a:cxnSpLocks/>
          </p:cNvCxnSpPr>
          <p:nvPr/>
        </p:nvCxnSpPr>
        <p:spPr>
          <a:xfrm flipH="1">
            <a:off x="7360049" y="1057680"/>
            <a:ext cx="33030" cy="5211826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AutoShape 5">
            <a:extLst>
              <a:ext uri="{FF2B5EF4-FFF2-40B4-BE49-F238E27FC236}">
                <a16:creationId xmlns:a16="http://schemas.microsoft.com/office/drawing/2014/main" id="{468C14A1-360F-4A76-B0E3-D13797DDB64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34427" y="1120184"/>
            <a:ext cx="4445391" cy="381000"/>
          </a:xfrm>
          <a:prstGeom prst="homePlate">
            <a:avLst>
              <a:gd name="adj" fmla="val 21760"/>
            </a:avLst>
          </a:prstGeom>
          <a:solidFill>
            <a:srgbClr val="C00000"/>
          </a:solidFill>
          <a:ln w="12700" cap="flat">
            <a:solidFill>
              <a:srgbClr val="FFFFFF"/>
            </a:solidFill>
            <a:prstDash val="solid"/>
            <a:miter lim="800000"/>
            <a:headEnd/>
            <a:tailEnd/>
          </a:ln>
          <a:effectLst>
            <a:innerShdw blurRad="25400">
              <a:prstClr val="black">
                <a:alpha val="88000"/>
              </a:prstClr>
            </a:innerShdw>
          </a:effectLst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180000" indent="-180000" algn="ctr">
              <a:lnSpc>
                <a:spcPct val="95000"/>
              </a:lnSpc>
              <a:spcAft>
                <a:spcPts val="800"/>
              </a:spcAft>
            </a:pPr>
            <a:r>
              <a:rPr lang="en-US" altLang="de-DE" sz="1400" b="1" noProof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p: Top 3 Decile Membership by State (VA Facilities)*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0AAA175-D4E6-44A0-9C63-27F656792098}"/>
              </a:ext>
            </a:extLst>
          </p:cNvPr>
          <p:cNvSpPr txBox="1"/>
          <p:nvPr/>
        </p:nvSpPr>
        <p:spPr>
          <a:xfrm>
            <a:off x="4329403" y="6146439"/>
            <a:ext cx="5560443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Note:</a:t>
            </a:r>
          </a:p>
          <a:p>
            <a:r>
              <a:rPr lang="en-US" sz="1000" dirty="0">
                <a:solidFill>
                  <a:schemeClr val="tx2"/>
                </a:solidFill>
              </a:rPr>
              <a:t>* Color code represent the size of the membership within the region -- darker color indicate more members.</a:t>
            </a:r>
          </a:p>
          <a:p>
            <a:r>
              <a:rPr lang="en-US" sz="1000" dirty="0">
                <a:solidFill>
                  <a:schemeClr val="tx2"/>
                </a:solidFill>
              </a:rPr>
              <a:t>* Red dots represent the locations of VA hospitals or facilities 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9C67210D-2245-4DD0-8C40-1833F38D8C46}"/>
              </a:ext>
            </a:extLst>
          </p:cNvPr>
          <p:cNvSpPr/>
          <p:nvPr/>
        </p:nvSpPr>
        <p:spPr bwMode="gray">
          <a:xfrm rot="5728054">
            <a:off x="9872640" y="2398027"/>
            <a:ext cx="813269" cy="392331"/>
          </a:xfrm>
          <a:prstGeom prst="ellipse">
            <a:avLst/>
          </a:prstGeom>
          <a:noFill/>
          <a:ln w="28575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C2949821-16C7-44B3-BAD3-C9FDDBF66EF1}"/>
              </a:ext>
            </a:extLst>
          </p:cNvPr>
          <p:cNvSpPr/>
          <p:nvPr/>
        </p:nvSpPr>
        <p:spPr bwMode="gray">
          <a:xfrm rot="9995991">
            <a:off x="10514805" y="2258605"/>
            <a:ext cx="1149181" cy="483055"/>
          </a:xfrm>
          <a:prstGeom prst="ellipse">
            <a:avLst/>
          </a:prstGeom>
          <a:noFill/>
          <a:ln w="28575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7E40CB96-62E1-48F2-A948-D27D527E5239}"/>
              </a:ext>
            </a:extLst>
          </p:cNvPr>
          <p:cNvSpPr/>
          <p:nvPr/>
        </p:nvSpPr>
        <p:spPr bwMode="gray">
          <a:xfrm rot="10462495">
            <a:off x="10496095" y="2903434"/>
            <a:ext cx="952024" cy="308700"/>
          </a:xfrm>
          <a:prstGeom prst="ellipse">
            <a:avLst/>
          </a:prstGeom>
          <a:noFill/>
          <a:ln w="28575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92E695E-9F37-46A0-A25C-9D83D0AF7490}"/>
              </a:ext>
            </a:extLst>
          </p:cNvPr>
          <p:cNvSpPr txBox="1"/>
          <p:nvPr/>
        </p:nvSpPr>
        <p:spPr>
          <a:xfrm>
            <a:off x="7516421" y="4145154"/>
            <a:ext cx="4445391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Members in the top 3 deciles resided in Illinois, North Carolina and the northeast regio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/>
              </a:solidFill>
              <a:latin typeface="Open Sans" charset="0"/>
              <a:ea typeface="Open Sans" charset="0"/>
              <a:cs typeface="Open Sans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In those regions, there are numbers of VA hospitals, and it is more likely that veterans use VA facilities than private docto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/>
              </a:solidFill>
              <a:latin typeface="Open Sans" charset="0"/>
              <a:ea typeface="Open Sans" charset="0"/>
              <a:cs typeface="Open Sans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rPr>
              <a:t>Only predicted veterans would be included in the outreach, and predicted nonveteran would not be included.</a:t>
            </a:r>
          </a:p>
        </p:txBody>
      </p:sp>
    </p:spTree>
    <p:extLst>
      <p:ext uri="{BB962C8B-B14F-4D97-AF65-F5344CB8AC3E}">
        <p14:creationId xmlns:p14="http://schemas.microsoft.com/office/powerpoint/2010/main" val="1313622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>
            <a:extLst>
              <a:ext uri="{FF2B5EF4-FFF2-40B4-BE49-F238E27FC236}">
                <a16:creationId xmlns:a16="http://schemas.microsoft.com/office/drawing/2014/main" id="{33E1E99C-D95B-4A3F-BA68-FD3BF3EE43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636" y="1403491"/>
            <a:ext cx="7493811" cy="4981649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190500" marR="0" lvl="0" indent="-19050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969696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1">
              <a:ln>
                <a:noFill/>
              </a:ln>
              <a:solidFill>
                <a:sysClr val="window" lastClr="FFFFFF">
                  <a:lumMod val="50000"/>
                </a:sysClr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uLnTx/>
              <a:uFillTx/>
              <a:latin typeface="Open Sans Light"/>
              <a:ea typeface="+mn-ea"/>
              <a:cs typeface="Arial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D6EA33A-266E-42DA-9E06-486395A58F75}"/>
              </a:ext>
            </a:extLst>
          </p:cNvPr>
          <p:cNvSpPr txBox="1">
            <a:spLocks/>
          </p:cNvSpPr>
          <p:nvPr/>
        </p:nvSpPr>
        <p:spPr>
          <a:xfrm>
            <a:off x="1111072" y="427381"/>
            <a:ext cx="9674440" cy="73161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Veteran Performance Impact– Measure Level</a:t>
            </a:r>
          </a:p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Overall IVL MAPD Members vs Veterans vs </a:t>
            </a:r>
            <a:r>
              <a:rPr lang="en-US" sz="2000" i="1" dirty="0">
                <a:solidFill>
                  <a:srgbClr val="CC0000"/>
                </a:solidFill>
                <a:latin typeface="Arial"/>
              </a:rPr>
              <a:t>Target Population (22%)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rgbClr val="CC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C365C7D-C769-460D-8B7F-B4BEED84B6D4}"/>
              </a:ext>
            </a:extLst>
          </p:cNvPr>
          <p:cNvGrpSpPr/>
          <p:nvPr/>
        </p:nvGrpSpPr>
        <p:grpSpPr>
          <a:xfrm>
            <a:off x="446540" y="285863"/>
            <a:ext cx="509317" cy="707886"/>
            <a:chOff x="-1706746" y="1081861"/>
            <a:chExt cx="509317" cy="70788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B7A8FE4-1952-458B-AD07-1986E2648FBA}"/>
                </a:ext>
              </a:extLst>
            </p:cNvPr>
            <p:cNvSpPr/>
            <p:nvPr/>
          </p:nvSpPr>
          <p:spPr>
            <a:xfrm>
              <a:off x="-1706746" y="1081861"/>
              <a:ext cx="460382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000" b="1" dirty="0">
                  <a:solidFill>
                    <a:srgbClr val="C00000"/>
                  </a:solidFill>
                  <a:latin typeface="Domaine Display Bold" panose="020A0803080505060203" pitchFamily="18" charset="0"/>
                  <a:ea typeface="Open Sans" panose="020B0606030504020204" pitchFamily="34" charset="0"/>
                  <a:cs typeface="Open Sans" panose="020B0606030504020204" pitchFamily="34" charset="0"/>
                </a:rPr>
                <a:t>7</a:t>
              </a: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3BD2E0A-AE5B-43BE-9544-E71D8984BEC1}"/>
                </a:ext>
              </a:extLst>
            </p:cNvPr>
            <p:cNvCxnSpPr/>
            <p:nvPr/>
          </p:nvCxnSpPr>
          <p:spPr>
            <a:xfrm>
              <a:off x="-1197429" y="1217529"/>
              <a:ext cx="0" cy="4262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B4B603-A95F-4B87-A7C7-7ADC6BB2DA04}"/>
              </a:ext>
            </a:extLst>
          </p:cNvPr>
          <p:cNvCxnSpPr/>
          <p:nvPr/>
        </p:nvCxnSpPr>
        <p:spPr>
          <a:xfrm>
            <a:off x="446540" y="1291205"/>
            <a:ext cx="10786425" cy="0"/>
          </a:xfrm>
          <a:prstGeom prst="line">
            <a:avLst/>
          </a:prstGeom>
          <a:ln w="254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B9FC4EFC-575A-4FF1-A716-2EFCEE53C018}"/>
              </a:ext>
            </a:extLst>
          </p:cNvPr>
          <p:cNvSpPr txBox="1">
            <a:spLocks/>
          </p:cNvSpPr>
          <p:nvPr/>
        </p:nvSpPr>
        <p:spPr>
          <a:xfrm>
            <a:off x="7940351" y="1588661"/>
            <a:ext cx="3826838" cy="4115253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ts val="1800"/>
              </a:spcBef>
              <a:buClrTx/>
              <a:buFont typeface="Arial"/>
              <a:buNone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457200" rtl="0" eaLnBrk="1" latinLnBrk="0" hangingPunct="1">
              <a:spcBef>
                <a:spcPts val="12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457200" rtl="0" eaLnBrk="1" latinLnBrk="0" hangingPunct="1">
              <a:spcBef>
                <a:spcPts val="600"/>
              </a:spcBef>
              <a:buClrTx/>
              <a:buFont typeface="Lucida Grande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8580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0287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206500" indent="-17780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3716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main Performance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target population has similar HEDIS and Patient Safety compliant </a:t>
            </a:r>
            <a:r>
              <a:rPr lang="en-US" dirty="0">
                <a:solidFill>
                  <a:srgbClr val="3F3F3F"/>
                </a:solidFill>
                <a:latin typeface="Arial"/>
              </a:rPr>
              <a:t>rates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terans and the target population both performed lower in 7 of 13 measures when compared with the overall individual MAPD members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0F60AD1-B935-49E8-82FE-84CE566667D8}"/>
              </a:ext>
            </a:extLst>
          </p:cNvPr>
          <p:cNvSpPr txBox="1"/>
          <p:nvPr/>
        </p:nvSpPr>
        <p:spPr>
          <a:xfrm>
            <a:off x="8006671" y="4944519"/>
            <a:ext cx="367772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) The results are through 06/20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3F3F3F"/>
                </a:solidFill>
                <a:latin typeface="Arial"/>
              </a:rPr>
              <a:t>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 Numbers in the parentheses are denominators for the measur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83BA9F3-E9C8-49AE-A624-99553D18C9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28012" y="3810000"/>
            <a:ext cx="3004953" cy="476257"/>
          </a:xfrm>
          <a:prstGeom prst="rect">
            <a:avLst/>
          </a:prstGeom>
        </p:spPr>
      </p:pic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3B786590-3410-4481-A366-9EA7B7BBAE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803272"/>
              </p:ext>
            </p:extLst>
          </p:nvPr>
        </p:nvGraphicFramePr>
        <p:xfrm>
          <a:off x="446539" y="1427731"/>
          <a:ext cx="7468907" cy="4957405"/>
        </p:xfrm>
        <a:graphic>
          <a:graphicData uri="http://schemas.openxmlformats.org/drawingml/2006/table">
            <a:tbl>
              <a:tblPr/>
              <a:tblGrid>
                <a:gridCol w="1075872">
                  <a:extLst>
                    <a:ext uri="{9D8B030D-6E8A-4147-A177-3AD203B41FA5}">
                      <a16:colId xmlns:a16="http://schemas.microsoft.com/office/drawing/2014/main" val="443675115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118391237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334439391"/>
                    </a:ext>
                  </a:extLst>
                </a:gridCol>
                <a:gridCol w="1397135">
                  <a:extLst>
                    <a:ext uri="{9D8B030D-6E8A-4147-A177-3AD203B41FA5}">
                      <a16:colId xmlns:a16="http://schemas.microsoft.com/office/drawing/2014/main" val="4265188181"/>
                    </a:ext>
                  </a:extLst>
                </a:gridCol>
                <a:gridCol w="1719300">
                  <a:extLst>
                    <a:ext uri="{9D8B030D-6E8A-4147-A177-3AD203B41FA5}">
                      <a16:colId xmlns:a16="http://schemas.microsoft.com/office/drawing/2014/main" val="3120839459"/>
                    </a:ext>
                  </a:extLst>
                </a:gridCol>
              </a:tblGrid>
              <a:tr h="54223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OMAI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EASURE NAM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verall IVL MAP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Veteran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arget Population</a:t>
                      </a:r>
                      <a:b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(Top 22% from the Model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6494490"/>
                  </a:ext>
                </a:extLst>
              </a:tr>
              <a:tr h="271116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mber Count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56,8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,0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4441318"/>
                  </a:ext>
                </a:extLst>
              </a:tr>
              <a:tr h="2711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ult BM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99% (681,637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62% (1,381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10% (133,048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6160372"/>
                  </a:ext>
                </a:extLst>
              </a:tr>
              <a:tr h="2711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east Cancer Screening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73% (262,880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33% (45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52% (3,250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077614"/>
                  </a:ext>
                </a:extLst>
              </a:tr>
              <a:tr h="2711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lorectal Cance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18% (595,781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20% (1,876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29% (150,462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7834147"/>
                  </a:ext>
                </a:extLst>
              </a:tr>
              <a:tr h="2711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betes - Blood Sugar Controlle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6% (104,963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87% (877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24% (43,203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640446"/>
                  </a:ext>
                </a:extLst>
              </a:tr>
              <a:tr h="2711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betes - Ey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81% (151,448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82% (877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81% (43,203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6379247"/>
                  </a:ext>
                </a:extLst>
              </a:tr>
              <a:tr h="2711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betes - Kidne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33% (271,507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.49% (877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66% (43,203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0621688"/>
                  </a:ext>
                </a:extLst>
              </a:tr>
              <a:tr h="2711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eo Screening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51% (1,636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(0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34% (728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9683496"/>
                  </a:ext>
                </a:extLst>
              </a:tr>
              <a:tr h="2711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heumatoid Arthriti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.62% (8,506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00% (20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.27% (1,367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8231703"/>
                  </a:ext>
                </a:extLst>
              </a:tr>
              <a:tr h="2711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in Therapy for Patients with C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64% (53,899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35% (170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.30% (13,104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721232"/>
                  </a:ext>
                </a:extLst>
              </a:tr>
              <a:tr h="34843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D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cation Reconciliation Post Discharg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98% (89,046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33% (270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92% (11,078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0122116"/>
                  </a:ext>
                </a:extLst>
              </a:tr>
              <a:tr h="2711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Safet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cation Therapy Managemen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98% (51,331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51% (114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50% (9,892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6677156"/>
                  </a:ext>
                </a:extLst>
              </a:tr>
              <a:tr h="2711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Safet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EI/ARB Adheren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08% (625,442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89% (3,986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14% (88,580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1247959"/>
                  </a:ext>
                </a:extLst>
              </a:tr>
              <a:tr h="2711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Safet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betes Adheren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09% (594,713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17% (1,819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40% (33,754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2606839"/>
                  </a:ext>
                </a:extLst>
              </a:tr>
              <a:tr h="2711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Safet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in Adheren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35% (218,702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19% (790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82% (95,308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2499467"/>
                  </a:ext>
                </a:extLst>
              </a:tr>
              <a:tr h="2711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Safet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in use in Diabet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04% (648,47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38% (2,057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.42% (27,59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94660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37726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>
            <a:extLst>
              <a:ext uri="{FF2B5EF4-FFF2-40B4-BE49-F238E27FC236}">
                <a16:creationId xmlns:a16="http://schemas.microsoft.com/office/drawing/2014/main" id="{33E1E99C-D95B-4A3F-BA68-FD3BF3EE43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636" y="1403491"/>
            <a:ext cx="7493811" cy="4981649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marL="190500" marR="0" lvl="0" indent="-19050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969696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1">
              <a:ln>
                <a:noFill/>
              </a:ln>
              <a:solidFill>
                <a:sysClr val="window" lastClr="FFFFFF">
                  <a:lumMod val="50000"/>
                </a:sysClr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uLnTx/>
              <a:uFillTx/>
              <a:latin typeface="Open Sans Light"/>
              <a:ea typeface="+mn-ea"/>
              <a:cs typeface="Arial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D6EA33A-266E-42DA-9E06-486395A58F75}"/>
              </a:ext>
            </a:extLst>
          </p:cNvPr>
          <p:cNvSpPr txBox="1">
            <a:spLocks/>
          </p:cNvSpPr>
          <p:nvPr/>
        </p:nvSpPr>
        <p:spPr>
          <a:xfrm>
            <a:off x="1217612" y="293805"/>
            <a:ext cx="10121889" cy="73161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Predicted Veteran Performance Impact – Top States</a:t>
            </a:r>
            <a:r>
              <a:rPr lang="en-US" sz="3200" dirty="0">
                <a:solidFill>
                  <a:srgbClr val="CC0000"/>
                </a:solidFill>
                <a:latin typeface="Arial"/>
              </a:rPr>
              <a:t> 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CC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  <a:p>
            <a:pPr lvl="0">
              <a:defRPr/>
            </a:pPr>
            <a:r>
              <a:rPr lang="en-US" sz="2000" i="1" dirty="0">
                <a:solidFill>
                  <a:srgbClr val="CC0000"/>
                </a:solidFill>
              </a:rPr>
              <a:t>Top 5 Target States vs </a:t>
            </a:r>
            <a:r>
              <a:rPr lang="en-US" sz="2000" i="1" dirty="0">
                <a:solidFill>
                  <a:srgbClr val="CC0000"/>
                </a:solidFill>
                <a:latin typeface="Arial"/>
              </a:rPr>
              <a:t>o</a:t>
            </a:r>
            <a:r>
              <a:rPr kumimoji="0" lang="en-US" sz="2000" b="1" i="1" u="none" strike="noStrike" kern="1200" cap="none" spc="0" normalizeH="0" baseline="0" noProof="0" dirty="0" err="1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verall</a:t>
            </a: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IVL MAPD Member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C365C7D-C769-460D-8B7F-B4BEED84B6D4}"/>
              </a:ext>
            </a:extLst>
          </p:cNvPr>
          <p:cNvGrpSpPr/>
          <p:nvPr/>
        </p:nvGrpSpPr>
        <p:grpSpPr>
          <a:xfrm>
            <a:off x="446540" y="285863"/>
            <a:ext cx="509317" cy="707886"/>
            <a:chOff x="-1706746" y="1081861"/>
            <a:chExt cx="509317" cy="70788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B7A8FE4-1952-458B-AD07-1986E2648FBA}"/>
                </a:ext>
              </a:extLst>
            </p:cNvPr>
            <p:cNvSpPr/>
            <p:nvPr/>
          </p:nvSpPr>
          <p:spPr>
            <a:xfrm>
              <a:off x="-1706746" y="1081861"/>
              <a:ext cx="487634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000" b="1" dirty="0">
                  <a:solidFill>
                    <a:srgbClr val="C00000"/>
                  </a:solidFill>
                  <a:latin typeface="Domaine Display Bold" panose="020A0803080505060203" pitchFamily="18" charset="0"/>
                  <a:ea typeface="Open Sans" panose="020B0606030504020204" pitchFamily="34" charset="0"/>
                  <a:cs typeface="Open Sans" panose="020B0606030504020204" pitchFamily="34" charset="0"/>
                </a:rPr>
                <a:t>8</a:t>
              </a: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3BD2E0A-AE5B-43BE-9544-E71D8984BEC1}"/>
                </a:ext>
              </a:extLst>
            </p:cNvPr>
            <p:cNvCxnSpPr/>
            <p:nvPr/>
          </p:nvCxnSpPr>
          <p:spPr>
            <a:xfrm>
              <a:off x="-1197429" y="1217529"/>
              <a:ext cx="0" cy="4262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B4B603-A95F-4B87-A7C7-7ADC6BB2DA04}"/>
              </a:ext>
            </a:extLst>
          </p:cNvPr>
          <p:cNvCxnSpPr/>
          <p:nvPr/>
        </p:nvCxnSpPr>
        <p:spPr>
          <a:xfrm>
            <a:off x="446540" y="1219200"/>
            <a:ext cx="10786425" cy="0"/>
          </a:xfrm>
          <a:prstGeom prst="line">
            <a:avLst/>
          </a:prstGeom>
          <a:ln w="254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B9FC4EFC-575A-4FF1-A716-2EFCEE53C018}"/>
              </a:ext>
            </a:extLst>
          </p:cNvPr>
          <p:cNvSpPr txBox="1">
            <a:spLocks/>
          </p:cNvSpPr>
          <p:nvPr/>
        </p:nvSpPr>
        <p:spPr>
          <a:xfrm>
            <a:off x="7940351" y="1588661"/>
            <a:ext cx="3826838" cy="4115253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ts val="1800"/>
              </a:spcBef>
              <a:buClrTx/>
              <a:buFont typeface="Arial"/>
              <a:buNone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457200" rtl="0" eaLnBrk="1" latinLnBrk="0" hangingPunct="1">
              <a:spcBef>
                <a:spcPts val="12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457200" rtl="0" eaLnBrk="1" latinLnBrk="0" hangingPunct="1">
              <a:spcBef>
                <a:spcPts val="600"/>
              </a:spcBef>
              <a:buClrTx/>
              <a:buFont typeface="Lucida Grande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8580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0287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206500" indent="-17780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3716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main Performance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rgbClr val="3F3F3F"/>
                </a:solidFill>
                <a:latin typeface="Arial"/>
              </a:rPr>
              <a:t>IL and NY are the two potential target markets since they both have lower performance in the key HEDIS measures comparing to the other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0F60AD1-B935-49E8-82FE-84CE566667D8}"/>
              </a:ext>
            </a:extLst>
          </p:cNvPr>
          <p:cNvSpPr txBox="1"/>
          <p:nvPr/>
        </p:nvSpPr>
        <p:spPr>
          <a:xfrm>
            <a:off x="8006671" y="4944519"/>
            <a:ext cx="367772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) The 2020 YTD results are through 06/20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3F3F3F"/>
                </a:solidFill>
                <a:latin typeface="Arial"/>
              </a:rPr>
              <a:t>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 Numbers in the parentheses are denominators for the measure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D87466E-034F-485D-99AB-1427DA51AA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3180601"/>
              </p:ext>
            </p:extLst>
          </p:nvPr>
        </p:nvGraphicFramePr>
        <p:xfrm>
          <a:off x="407875" y="1412985"/>
          <a:ext cx="7493812" cy="4981813"/>
        </p:xfrm>
        <a:graphic>
          <a:graphicData uri="http://schemas.openxmlformats.org/drawingml/2006/table">
            <a:tbl>
              <a:tblPr/>
              <a:tblGrid>
                <a:gridCol w="1250151">
                  <a:extLst>
                    <a:ext uri="{9D8B030D-6E8A-4147-A177-3AD203B41FA5}">
                      <a16:colId xmlns:a16="http://schemas.microsoft.com/office/drawing/2014/main" val="3686772523"/>
                    </a:ext>
                  </a:extLst>
                </a:gridCol>
                <a:gridCol w="1425703">
                  <a:extLst>
                    <a:ext uri="{9D8B030D-6E8A-4147-A177-3AD203B41FA5}">
                      <a16:colId xmlns:a16="http://schemas.microsoft.com/office/drawing/2014/main" val="4267950999"/>
                    </a:ext>
                  </a:extLst>
                </a:gridCol>
                <a:gridCol w="915004">
                  <a:extLst>
                    <a:ext uri="{9D8B030D-6E8A-4147-A177-3AD203B41FA5}">
                      <a16:colId xmlns:a16="http://schemas.microsoft.com/office/drawing/2014/main" val="3065340934"/>
                    </a:ext>
                  </a:extLst>
                </a:gridCol>
                <a:gridCol w="915004">
                  <a:extLst>
                    <a:ext uri="{9D8B030D-6E8A-4147-A177-3AD203B41FA5}">
                      <a16:colId xmlns:a16="http://schemas.microsoft.com/office/drawing/2014/main" val="2367281145"/>
                    </a:ext>
                  </a:extLst>
                </a:gridCol>
                <a:gridCol w="994801">
                  <a:extLst>
                    <a:ext uri="{9D8B030D-6E8A-4147-A177-3AD203B41FA5}">
                      <a16:colId xmlns:a16="http://schemas.microsoft.com/office/drawing/2014/main" val="934389445"/>
                    </a:ext>
                  </a:extLst>
                </a:gridCol>
                <a:gridCol w="1035586">
                  <a:extLst>
                    <a:ext uri="{9D8B030D-6E8A-4147-A177-3AD203B41FA5}">
                      <a16:colId xmlns:a16="http://schemas.microsoft.com/office/drawing/2014/main" val="171447509"/>
                    </a:ext>
                  </a:extLst>
                </a:gridCol>
                <a:gridCol w="957563">
                  <a:extLst>
                    <a:ext uri="{9D8B030D-6E8A-4147-A177-3AD203B41FA5}">
                      <a16:colId xmlns:a16="http://schemas.microsoft.com/office/drawing/2014/main" val="2003565710"/>
                    </a:ext>
                  </a:extLst>
                </a:gridCol>
              </a:tblGrid>
              <a:tr h="158460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edicted Veteran &amp; Age 65 + (N=287,000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verall IVL MAPD</a:t>
                      </a:r>
                      <a:br>
                        <a:rPr lang="en-US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(N=1.6 Million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883408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p 5 States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L</a:t>
                      </a:r>
                    </a:p>
                  </a:txBody>
                  <a:tcPr marL="6216" marR="6216" marT="621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C</a:t>
                      </a:r>
                    </a:p>
                  </a:txBody>
                  <a:tcPr marL="6216" marR="6216" marT="621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Y</a:t>
                      </a:r>
                    </a:p>
                  </a:txBody>
                  <a:tcPr marL="6216" marR="6216" marT="621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A</a:t>
                      </a:r>
                    </a:p>
                  </a:txBody>
                  <a:tcPr marL="6216" marR="6216" marT="621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H</a:t>
                      </a:r>
                    </a:p>
                  </a:txBody>
                  <a:tcPr marL="6216" marR="6216" marT="6216" marB="0" anchor="ctr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8054756"/>
                  </a:ext>
                </a:extLst>
              </a:tr>
              <a:tr h="301449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dentified Veteran Counts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8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5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3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-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2820118"/>
                  </a:ext>
                </a:extLst>
              </a:tr>
              <a:tr h="301449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dicted </a:t>
                      </a:r>
                      <a:b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teran Counts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095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700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849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45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597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-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3427234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 Facility Counts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-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0458138"/>
                  </a:ext>
                </a:extLst>
              </a:tr>
              <a:tr h="301449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dicted Veterans </a:t>
                      </a:r>
                      <a:b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 VA Facility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9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-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3881822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der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16" marR="6216" marT="621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16" marR="6216" marT="621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16" marR="6216" marT="621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16" marR="6216" marT="6216" marB="0" anchor="ctr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1965916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e (percent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96 (51.16%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57 (53.05%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245 (49.38%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23 (56.03%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19 (55.26%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-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8918194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male (percent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699 (48.84%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943 (46.95%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604 (50.62%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922 (43.96%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978 (44.74%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-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4985078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e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1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5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1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6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2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-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2837796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nure Month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-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398472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 County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OK (6,751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CKLENBURG (2,835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FFOLK (4,140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WINNETT (3,045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ANKLIN (13,431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-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6160790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 membership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16" marR="6216" marT="621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16" marR="6216" marT="621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16" marR="6216" marT="621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16" marR="6216" marT="6216" marB="0" anchor="ctr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0853450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 0 - 10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834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881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764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609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92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-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8303297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 11 -20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090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113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01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044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66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-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111461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 21 - 22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71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06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84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92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39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-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7075894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 YTD Key HEDIS Measures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16" marR="6216" marT="621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16" marR="6216" marT="621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16" marR="6216" marT="621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16" marR="6216" marT="6216" marB="0" anchor="ctr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4345026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ult BMI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.80% (10,520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24% (12,599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.99% (11,379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44% (6,585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46% (6,184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56% (580,298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1501408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east Cancer Screening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36% (380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57% (149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33% (133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6% (157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0% (105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84% (225,916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3026503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lorectal Cancer Screening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71% (12,158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.61% (14,466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10%(13,280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72% (8,039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35% (7,497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.73% (605,808)</a:t>
                      </a:r>
                    </a:p>
                  </a:txBody>
                  <a:tcPr marL="6216" marR="6216" marT="621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944117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betes - Blood Sugar Controlled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44% (3,375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52% (4,169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0% (3,515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58% (1,849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66% (1,764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53% (208,985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132767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betes - Eye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38% (3,375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14% (4,169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61% (3,515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26% (1,849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68% (1,764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18% (208,985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1215266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betes - Kidney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.70% (3,375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77% (4,169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.87% (3,515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76% (1,849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39% (1,764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76% (208,985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1697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 Key HEDIS Measures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16" marR="6216" marT="621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16" marR="6216" marT="621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16" marR="6216" marT="6216" marB="0" anchor="ctr">
                    <a:lnL>
                      <a:noFill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1286357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ult BMI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49% (4,634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37% (3,581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61% (2,346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62% (2,887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64% (2,373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03% (375,446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7429138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east Cancer Screening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24% (641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87% (278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25 (218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94% (302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81% (236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2% (154,931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4105515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lorectal Cancer Screening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83% (5,360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14% (4,200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.82% (2,906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28% (912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23% (2,944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11% (380,442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8922702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betes - Blood Sugar Controlled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27% (2,796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58% (3,215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72% (2,649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.57 (1,531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70% (1,417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59% (149,673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7455764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betes - Eye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24% (2,796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86% (3,215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74% (2,649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42% (1,531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80% (1,417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41% (149,673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5063909"/>
                  </a:ext>
                </a:extLst>
              </a:tr>
              <a:tr h="150725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betes - Kidney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67% (2,796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15% (3,215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78% (2,649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31% (1,531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74% (1,417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47% (149,673)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8444080"/>
                  </a:ext>
                </a:extLst>
              </a:tr>
            </a:tbl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C6DBCDEC-D05C-4F21-B77C-B0E4508086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85270" y="4162685"/>
            <a:ext cx="3537000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2110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heme/theme1.xml><?xml version="1.0" encoding="utf-8"?>
<a:theme xmlns:a="http://schemas.openxmlformats.org/drawingml/2006/main" name="Aetna Violet PPT Template-standard">
  <a:themeElements>
    <a:clrScheme name="Custom 174">
      <a:dk1>
        <a:sysClr val="windowText" lastClr="000000"/>
      </a:dk1>
      <a:lt1>
        <a:srgbClr val="FFFFFF"/>
      </a:lt1>
      <a:dk2>
        <a:srgbClr val="414141"/>
      </a:dk2>
      <a:lt2>
        <a:srgbClr val="C2C0C0"/>
      </a:lt2>
      <a:accent1>
        <a:srgbClr val="563D82"/>
      </a:accent1>
      <a:accent2>
        <a:srgbClr val="7D3F98"/>
      </a:accent2>
      <a:accent3>
        <a:srgbClr val="B18CC1"/>
      </a:accent3>
      <a:accent4>
        <a:srgbClr val="B9AFD6"/>
      </a:accent4>
      <a:accent5>
        <a:srgbClr val="AA0061"/>
      </a:accent5>
      <a:accent6>
        <a:srgbClr val="D20962"/>
      </a:accent6>
      <a:hlink>
        <a:srgbClr val="293BE5"/>
      </a:hlink>
      <a:folHlink>
        <a:srgbClr val="B2B2B2"/>
      </a:folHlink>
    </a:clrScheme>
    <a:fontScheme name="Aetna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b="1" dirty="0" smtClean="0">
            <a:latin typeface="Open Sans Bold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b="0" i="0" dirty="0" err="1" smtClean="0">
            <a:solidFill>
              <a:schemeClr val="tx2"/>
            </a:solidFill>
            <a:latin typeface="Open Sans" charset="0"/>
            <a:ea typeface="Open Sans" charset="0"/>
            <a:cs typeface="Open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7_05_03_Aetna_Violet_4x3_WIP" id="{A464F6EA-3DE4-DC44-96E5-A1E88D6C5DE4}" vid="{CA56EE30-4707-D943-84E1-3F06DB138E8B}"/>
    </a:ext>
  </a:extLst>
</a:theme>
</file>

<file path=ppt/theme/theme2.xml><?xml version="1.0" encoding="utf-8"?>
<a:theme xmlns:a="http://schemas.openxmlformats.org/drawingml/2006/main" name="1_Aetna Violet PPT Template-standard">
  <a:themeElements>
    <a:clrScheme name="Custom 174">
      <a:dk1>
        <a:sysClr val="windowText" lastClr="000000"/>
      </a:dk1>
      <a:lt1>
        <a:srgbClr val="FFFFFF"/>
      </a:lt1>
      <a:dk2>
        <a:srgbClr val="414141"/>
      </a:dk2>
      <a:lt2>
        <a:srgbClr val="C2C0C0"/>
      </a:lt2>
      <a:accent1>
        <a:srgbClr val="563D82"/>
      </a:accent1>
      <a:accent2>
        <a:srgbClr val="7D3F98"/>
      </a:accent2>
      <a:accent3>
        <a:srgbClr val="B18CC1"/>
      </a:accent3>
      <a:accent4>
        <a:srgbClr val="B9AFD6"/>
      </a:accent4>
      <a:accent5>
        <a:srgbClr val="AA0061"/>
      </a:accent5>
      <a:accent6>
        <a:srgbClr val="D20962"/>
      </a:accent6>
      <a:hlink>
        <a:srgbClr val="293BE5"/>
      </a:hlink>
      <a:folHlink>
        <a:srgbClr val="B2B2B2"/>
      </a:folHlink>
    </a:clrScheme>
    <a:fontScheme name="Aetna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b="1" dirty="0" smtClean="0">
            <a:latin typeface="Open Sans Bold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b="0" i="0" dirty="0" err="1" smtClean="0">
            <a:solidFill>
              <a:schemeClr val="tx2"/>
            </a:solidFill>
            <a:latin typeface="Open Sans" charset="0"/>
            <a:ea typeface="Open Sans" charset="0"/>
            <a:cs typeface="Open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7_05_03_Aetna_Violet_4x3_WIP" id="{A464F6EA-3DE4-DC44-96E5-A1E88D6C5DE4}" vid="{CA56EE30-4707-D943-84E1-3F06DB138E8B}"/>
    </a:ext>
  </a:extLst>
</a:theme>
</file>

<file path=ppt/theme/theme3.xml><?xml version="1.0" encoding="utf-8"?>
<a:theme xmlns:a="http://schemas.openxmlformats.org/drawingml/2006/main" name="CVS_Health_PPT_Everyday_Standard_Template">
  <a:themeElements>
    <a:clrScheme name="Custom 17">
      <a:dk1>
        <a:srgbClr val="000000"/>
      </a:dk1>
      <a:lt1>
        <a:sysClr val="window" lastClr="FFFFFF"/>
      </a:lt1>
      <a:dk2>
        <a:srgbClr val="3F3F3F"/>
      </a:dk2>
      <a:lt2>
        <a:srgbClr val="C0C0C0"/>
      </a:lt2>
      <a:accent1>
        <a:srgbClr val="9E0000"/>
      </a:accent1>
      <a:accent2>
        <a:srgbClr val="CC0000"/>
      </a:accent2>
      <a:accent3>
        <a:srgbClr val="E94D4D"/>
      </a:accent3>
      <a:accent4>
        <a:srgbClr val="F7978D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VS Heal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CC0000"/>
        </a:solidFill>
        <a:ln>
          <a:noFill/>
          <a:miter lim="800000"/>
        </a:ln>
        <a:effectLst/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VS_Health_PPT_Everyday_Standard_Template_2020.pptx" id="{F2352B1C-8F57-4FFE-B588-4DFF24D268D9}" vid="{80C050FA-76E5-46B5-9872-F0F6057CE5FD}"/>
    </a:ext>
  </a:extLst>
</a:theme>
</file>

<file path=ppt/theme/theme4.xml><?xml version="1.0" encoding="utf-8"?>
<a:theme xmlns:a="http://schemas.openxmlformats.org/drawingml/2006/main" name="Theme1">
  <a:themeElements>
    <a:clrScheme name="Custom 17">
      <a:dk1>
        <a:srgbClr val="000000"/>
      </a:dk1>
      <a:lt1>
        <a:sysClr val="window" lastClr="FFFFFF"/>
      </a:lt1>
      <a:dk2>
        <a:srgbClr val="3F3F3F"/>
      </a:dk2>
      <a:lt2>
        <a:srgbClr val="C0C0C0"/>
      </a:lt2>
      <a:accent1>
        <a:srgbClr val="9E0000"/>
      </a:accent1>
      <a:accent2>
        <a:srgbClr val="CC0000"/>
      </a:accent2>
      <a:accent3>
        <a:srgbClr val="E94D4D"/>
      </a:accent3>
      <a:accent4>
        <a:srgbClr val="F7978D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VS Heal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CC0000"/>
        </a:solidFill>
        <a:ln>
          <a:noFill/>
          <a:miter lim="800000"/>
        </a:ln>
        <a:effectLst/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1" id="{BF70D678-A619-4A86-AD4A-647BAF7F56A9}" vid="{3A0CC1C1-6E26-42AE-9B2B-57178A6FF694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Humana_11_11">
    <a:dk1>
      <a:srgbClr val="1A1812"/>
    </a:dk1>
    <a:lt1>
      <a:srgbClr val="FFFFFF"/>
    </a:lt1>
    <a:dk2>
      <a:srgbClr val="FFFFFF"/>
    </a:dk2>
    <a:lt2>
      <a:srgbClr val="5C9A1B"/>
    </a:lt2>
    <a:accent1>
      <a:srgbClr val="5C9A1B"/>
    </a:accent1>
    <a:accent2>
      <a:srgbClr val="1D5B2D"/>
    </a:accent2>
    <a:accent3>
      <a:srgbClr val="1A1812"/>
    </a:accent3>
    <a:accent4>
      <a:srgbClr val="AA005F"/>
    </a:accent4>
    <a:accent5>
      <a:srgbClr val="D5D5D5"/>
    </a:accent5>
    <a:accent6>
      <a:srgbClr val="5C9A1B"/>
    </a:accent6>
    <a:hlink>
      <a:srgbClr val="AA005F"/>
    </a:hlink>
    <a:folHlink>
      <a:srgbClr val="D5D5D2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Standard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2A79FF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74747"/>
    </a:accent6>
    <a:hlink>
      <a:srgbClr val="C00000"/>
    </a:hlink>
    <a:folHlink>
      <a:srgbClr val="FFC000"/>
    </a:folHlink>
  </a:clrScheme>
  <a:fontScheme name="Larissa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Standard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2A79FF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74747"/>
    </a:accent6>
    <a:hlink>
      <a:srgbClr val="C00000"/>
    </a:hlink>
    <a:folHlink>
      <a:srgbClr val="FFC000"/>
    </a:folHlink>
  </a:clrScheme>
  <a:fontScheme name="Larissa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Standard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2A79FF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74747"/>
    </a:accent6>
    <a:hlink>
      <a:srgbClr val="C00000"/>
    </a:hlink>
    <a:folHlink>
      <a:srgbClr val="FFC000"/>
    </a:folHlink>
  </a:clrScheme>
  <a:fontScheme name="Larissa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Standard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2A79FF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74747"/>
    </a:accent6>
    <a:hlink>
      <a:srgbClr val="C00000"/>
    </a:hlink>
    <a:folHlink>
      <a:srgbClr val="FFC000"/>
    </a:folHlink>
  </a:clrScheme>
  <a:fontScheme name="Larissa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Standard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2A79FF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74747"/>
    </a:accent6>
    <a:hlink>
      <a:srgbClr val="C00000"/>
    </a:hlink>
    <a:folHlink>
      <a:srgbClr val="FFC000"/>
    </a:folHlink>
  </a:clrScheme>
  <a:fontScheme name="Larissa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Standard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2A79FF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74747"/>
    </a:accent6>
    <a:hlink>
      <a:srgbClr val="C00000"/>
    </a:hlink>
    <a:folHlink>
      <a:srgbClr val="FFC000"/>
    </a:folHlink>
  </a:clrScheme>
  <a:fontScheme name="Larissa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Standard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2A79FF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74747"/>
    </a:accent6>
    <a:hlink>
      <a:srgbClr val="C00000"/>
    </a:hlink>
    <a:folHlink>
      <a:srgbClr val="FFC000"/>
    </a:folHlink>
  </a:clrScheme>
  <a:fontScheme name="Larissa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Standard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2A79FF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74747"/>
    </a:accent6>
    <a:hlink>
      <a:srgbClr val="C00000"/>
    </a:hlink>
    <a:folHlink>
      <a:srgbClr val="FFC000"/>
    </a:folHlink>
  </a:clrScheme>
  <a:fontScheme name="Larissa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Standard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2A79FF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74747"/>
    </a:accent6>
    <a:hlink>
      <a:srgbClr val="C00000"/>
    </a:hlink>
    <a:folHlink>
      <a:srgbClr val="FFC000"/>
    </a:folHlink>
  </a:clrScheme>
  <a:fontScheme name="Larissa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Standard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2A79FF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74747"/>
    </a:accent6>
    <a:hlink>
      <a:srgbClr val="C00000"/>
    </a:hlink>
    <a:folHlink>
      <a:srgbClr val="FFC000"/>
    </a:folHlink>
  </a:clrScheme>
  <a:fontScheme name="Larissa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Standard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2A79FF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74747"/>
    </a:accent6>
    <a:hlink>
      <a:srgbClr val="C00000"/>
    </a:hlink>
    <a:folHlink>
      <a:srgbClr val="FFC000"/>
    </a:folHlink>
  </a:clrScheme>
  <a:fontScheme name="Larissa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Standard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2A79FF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74747"/>
    </a:accent6>
    <a:hlink>
      <a:srgbClr val="C00000"/>
    </a:hlink>
    <a:folHlink>
      <a:srgbClr val="FFC000"/>
    </a:folHlink>
  </a:clrScheme>
  <a:fontScheme name="Larissa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Standard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2A79FF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74747"/>
    </a:accent6>
    <a:hlink>
      <a:srgbClr val="C00000"/>
    </a:hlink>
    <a:folHlink>
      <a:srgbClr val="FFC000"/>
    </a:folHlink>
  </a:clrScheme>
  <a:fontScheme name="Larissa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Standard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2A79FF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74747"/>
    </a:accent6>
    <a:hlink>
      <a:srgbClr val="C00000"/>
    </a:hlink>
    <a:folHlink>
      <a:srgbClr val="FFC000"/>
    </a:folHlink>
  </a:clrScheme>
  <a:fontScheme name="Larissa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Standard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2A79FF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74747"/>
    </a:accent6>
    <a:hlink>
      <a:srgbClr val="C00000"/>
    </a:hlink>
    <a:folHlink>
      <a:srgbClr val="FFC000"/>
    </a:folHlink>
  </a:clrScheme>
  <a:fontScheme name="Larissa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6773</TotalTime>
  <Words>4088</Words>
  <Application>Microsoft Office PowerPoint</Application>
  <PresentationFormat>Custom</PresentationFormat>
  <Paragraphs>1065</Paragraphs>
  <Slides>22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22</vt:i4>
      </vt:variant>
    </vt:vector>
  </HeadingPairs>
  <TitlesOfParts>
    <vt:vector size="35" baseType="lpstr">
      <vt:lpstr>Arial</vt:lpstr>
      <vt:lpstr>Calibri</vt:lpstr>
      <vt:lpstr>Cambria Math</vt:lpstr>
      <vt:lpstr>Domaine Display Bold</vt:lpstr>
      <vt:lpstr>Lucida Grande</vt:lpstr>
      <vt:lpstr>Open Sans</vt:lpstr>
      <vt:lpstr>Open Sans Bold</vt:lpstr>
      <vt:lpstr>Open Sans Light</vt:lpstr>
      <vt:lpstr>Wingdings</vt:lpstr>
      <vt:lpstr>Aetna Violet PPT Template-standard</vt:lpstr>
      <vt:lpstr>1_Aetna Violet PPT Template-standard</vt:lpstr>
      <vt:lpstr>CVS_Health_PPT_Everyday_Standard_Template</vt:lpstr>
      <vt:lpstr>Theme1</vt:lpstr>
      <vt:lpstr>Veteran Predictive Model</vt:lpstr>
      <vt:lpstr>Veteran Predictive Model Frame Work</vt:lpstr>
      <vt:lpstr>Veteran Modeling Strategy</vt:lpstr>
      <vt:lpstr>Veteran Model Performance – Test Dataset</vt:lpstr>
      <vt:lpstr>Top Key Drives to Identify Veterans</vt:lpstr>
      <vt:lpstr>Target Population #1 – Top 3 Deciles (Top 30%)</vt:lpstr>
      <vt:lpstr>Target Population #2 – Predicted Veterans (22%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ummary</vt:lpstr>
      <vt:lpstr>APPENDIX</vt:lpstr>
      <vt:lpstr>MAPD Overview</vt:lpstr>
      <vt:lpstr>Confusion Matrix</vt:lpstr>
      <vt:lpstr>Prediction Valid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AW Vol. Lapse Predictive Model</dc:title>
  <dc:creator>Withers, Ting</dc:creator>
  <cp:lastModifiedBy>Geng, Wei</cp:lastModifiedBy>
  <cp:revision>394</cp:revision>
  <dcterms:created xsi:type="dcterms:W3CDTF">2020-03-05T20:28:56Z</dcterms:created>
  <dcterms:modified xsi:type="dcterms:W3CDTF">2020-10-09T15:37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7599526-06ca-49cc-9fa9-5307800a949a_Enabled">
    <vt:lpwstr>True</vt:lpwstr>
  </property>
  <property fmtid="{D5CDD505-2E9C-101B-9397-08002B2CF9AE}" pid="3" name="MSIP_Label_67599526-06ca-49cc-9fa9-5307800a949a_SiteId">
    <vt:lpwstr>fabb61b8-3afe-4e75-b934-a47f782b8cd7</vt:lpwstr>
  </property>
  <property fmtid="{D5CDD505-2E9C-101B-9397-08002B2CF9AE}" pid="4" name="MSIP_Label_67599526-06ca-49cc-9fa9-5307800a949a_Owner">
    <vt:lpwstr>WithersT1@aetna.com</vt:lpwstr>
  </property>
  <property fmtid="{D5CDD505-2E9C-101B-9397-08002B2CF9AE}" pid="5" name="MSIP_Label_67599526-06ca-49cc-9fa9-5307800a949a_SetDate">
    <vt:lpwstr>2020-03-06T01:29:51.5171950Z</vt:lpwstr>
  </property>
  <property fmtid="{D5CDD505-2E9C-101B-9397-08002B2CF9AE}" pid="6" name="MSIP_Label_67599526-06ca-49cc-9fa9-5307800a949a_Name">
    <vt:lpwstr>Proprietary</vt:lpwstr>
  </property>
  <property fmtid="{D5CDD505-2E9C-101B-9397-08002B2CF9AE}" pid="7" name="MSIP_Label_67599526-06ca-49cc-9fa9-5307800a949a_Application">
    <vt:lpwstr>Microsoft Azure Information Protection</vt:lpwstr>
  </property>
  <property fmtid="{D5CDD505-2E9C-101B-9397-08002B2CF9AE}" pid="8" name="MSIP_Label_67599526-06ca-49cc-9fa9-5307800a949a_ActionId">
    <vt:lpwstr>70620a0c-5591-44d8-bec1-0de2d3b135aa</vt:lpwstr>
  </property>
  <property fmtid="{D5CDD505-2E9C-101B-9397-08002B2CF9AE}" pid="9" name="MSIP_Label_67599526-06ca-49cc-9fa9-5307800a949a_Extended_MSFT_Method">
    <vt:lpwstr>Automatic</vt:lpwstr>
  </property>
  <property fmtid="{D5CDD505-2E9C-101B-9397-08002B2CF9AE}" pid="10" name="Sensitivity">
    <vt:lpwstr>Proprietary</vt:lpwstr>
  </property>
</Properties>
</file>